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slideLayouts/slideLayout6.xml" ContentType="application/vnd.openxmlformats-officedocument.presentationml.slideLayout+xml"/>
  <Override PartName="/ppt/theme/theme6.xml" ContentType="application/vnd.openxmlformats-officedocument.theme+xml"/>
  <Override PartName="/ppt/slideLayouts/slideLayout7.xml" ContentType="application/vnd.openxmlformats-officedocument.presentationml.slideLayout+xml"/>
  <Override PartName="/ppt/theme/theme7.xml" ContentType="application/vnd.openxmlformats-officedocument.theme+xml"/>
  <Override PartName="/ppt/slideLayouts/slideLayout8.xml" ContentType="application/vnd.openxmlformats-officedocument.presentationml.slideLayout+xml"/>
  <Override PartName="/ppt/theme/theme8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0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4" r:id="rId4"/>
    <p:sldMasterId id="2147483666" r:id="rId5"/>
    <p:sldMasterId id="2147483668" r:id="rId6"/>
    <p:sldMasterId id="2147483670" r:id="rId7"/>
    <p:sldMasterId id="2147483672" r:id="rId8"/>
    <p:sldMasterId id="2147483680" r:id="rId9"/>
    <p:sldMasterId id="2147483682" r:id="rId10"/>
    <p:sldMasterId id="2147483711" r:id="rId11"/>
    <p:sldMasterId id="2147483734" r:id="rId12"/>
  </p:sldMasterIdLst>
  <p:notesMasterIdLst>
    <p:notesMasterId r:id="rId17"/>
  </p:notesMasterIdLst>
  <p:sldIdLst>
    <p:sldId id="364" r:id="rId13"/>
    <p:sldId id="392" r:id="rId14"/>
    <p:sldId id="391" r:id="rId15"/>
    <p:sldId id="390" r:id="rId16"/>
  </p:sldIdLst>
  <p:sldSz cx="9144000" cy="6858000" type="screen4x3"/>
  <p:notesSz cx="6797675" cy="9926638"/>
  <p:embeddedFontLst>
    <p:embeddedFont>
      <p:font typeface="TIM Sans Medium" panose="02020503040602060503" pitchFamily="18" charset="0"/>
      <p:regular r:id="rId18"/>
      <p:italic r:id="rId19"/>
    </p:embeddedFont>
    <p:embeddedFont>
      <p:font typeface="MS PGothic" panose="020B0600070205080204" pitchFamily="34" charset="-128"/>
      <p:regular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Franklin Gothic Demi" panose="020B0703020102020204" pitchFamily="34" charset="0"/>
      <p:regular r:id="rId25"/>
      <p:italic r:id="rId26"/>
    </p:embeddedFont>
    <p:embeddedFont>
      <p:font typeface="TIM Sans" panose="02020503040602060503" pitchFamily="18" charset="0"/>
      <p:regular r:id="rId27"/>
      <p:bold r:id="rId28"/>
      <p:italic r:id="rId29"/>
      <p:boldItalic r:id="rId30"/>
    </p:embeddedFont>
    <p:embeddedFont>
      <p:font typeface="Segoe UI Semilight" panose="020B0402040204020203" pitchFamily="34" charset="0"/>
      <p:regular r:id="rId31"/>
      <p:italic r:id="rId32"/>
    </p:embeddedFont>
    <p:embeddedFont>
      <p:font typeface="TIM Sans Light" panose="02020503040602060503" pitchFamily="18" charset="0"/>
      <p:regular r:id="rId33"/>
      <p:italic r:id="rId34"/>
    </p:embeddedFont>
    <p:embeddedFont>
      <p:font typeface="Webdings" panose="05030102010509060703" pitchFamily="18" charset="2"/>
      <p:regular r:id="rId35"/>
    </p:embeddedFont>
    <p:embeddedFont>
      <p:font typeface="Franklin Gothic Medium" panose="020B0603020102020204" pitchFamily="34" charset="0"/>
      <p:regular r:id="rId36"/>
      <p:italic r:id="rId37"/>
    </p:embeddedFont>
  </p:embeddedFont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orient="horz" pos="2570">
          <p15:clr>
            <a:srgbClr val="A4A3A4"/>
          </p15:clr>
        </p15:guide>
        <p15:guide id="3" pos="2880">
          <p15:clr>
            <a:srgbClr val="A4A3A4"/>
          </p15:clr>
        </p15:guide>
        <p15:guide id="4" pos="1625">
          <p15:clr>
            <a:srgbClr val="A4A3A4"/>
          </p15:clr>
        </p15:guide>
        <p15:guide id="5" pos="537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A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 horzBarState="maximized">
    <p:restoredLeft sz="4433" autoAdjust="0"/>
    <p:restoredTop sz="94660"/>
  </p:normalViewPr>
  <p:slideViewPr>
    <p:cSldViewPr snapToGrid="0">
      <p:cViewPr>
        <p:scale>
          <a:sx n="75" d="100"/>
          <a:sy n="75" d="100"/>
        </p:scale>
        <p:origin x="-1448" y="-192"/>
      </p:cViewPr>
      <p:guideLst>
        <p:guide orient="horz" pos="2160"/>
        <p:guide orient="horz" pos="2571"/>
        <p:guide pos="2880"/>
        <p:guide pos="1625"/>
        <p:guide pos="53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39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34" Type="http://schemas.openxmlformats.org/officeDocument/2006/relationships/font" Target="fonts/font17.fntdata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font" Target="fonts/font16.fntdata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font" Target="fonts/font7.fntdata"/><Relationship Id="rId32" Type="http://schemas.openxmlformats.org/officeDocument/2006/relationships/font" Target="fonts/font15.fntdata"/><Relationship Id="rId37" Type="http://schemas.openxmlformats.org/officeDocument/2006/relationships/font" Target="fonts/font20.fntdata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font" Target="fonts/font19.fntdata"/><Relationship Id="rId10" Type="http://schemas.openxmlformats.org/officeDocument/2006/relationships/slideMaster" Target="slideMasters/slideMaster7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font" Target="fonts/font18.fntdata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3.png"/><Relationship Id="rId1" Type="http://schemas.openxmlformats.org/officeDocument/2006/relationships/image" Target="../media/image24.jp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27.png"/><Relationship Id="rId1" Type="http://schemas.openxmlformats.org/officeDocument/2006/relationships/image" Target="../media/image26.jpg"/><Relationship Id="rId4" Type="http://schemas.openxmlformats.org/officeDocument/2006/relationships/image" Target="../media/image28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3.png"/><Relationship Id="rId1" Type="http://schemas.openxmlformats.org/officeDocument/2006/relationships/image" Target="../media/image24.jpg"/><Relationship Id="rId5" Type="http://schemas.openxmlformats.org/officeDocument/2006/relationships/image" Target="../media/image18.png"/><Relationship Id="rId4" Type="http://schemas.openxmlformats.org/officeDocument/2006/relationships/image" Target="../media/image22.pn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27.png"/><Relationship Id="rId1" Type="http://schemas.openxmlformats.org/officeDocument/2006/relationships/image" Target="../media/image26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B981E36-EB0D-43EF-9019-F5B70785F7CE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139AE36-9447-4CD0-BFD1-9AEC2D3C5126}">
      <dgm:prSet phldrT="[Testo]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it-IT" dirty="0"/>
        </a:p>
      </dgm:t>
    </dgm:pt>
    <dgm:pt modelId="{B7936C1F-CDB3-4EDB-B7EF-86061EB7459C}" type="parTrans" cxnId="{5A2D2200-8FBF-4DAC-B3F9-961C37ABB39C}">
      <dgm:prSet/>
      <dgm:spPr/>
      <dgm:t>
        <a:bodyPr/>
        <a:lstStyle/>
        <a:p>
          <a:endParaRPr lang="it-IT"/>
        </a:p>
      </dgm:t>
    </dgm:pt>
    <dgm:pt modelId="{FF224B0D-6BD1-4838-9353-7F7C0B43A6B2}" type="sibTrans" cxnId="{5A2D2200-8FBF-4DAC-B3F9-961C37ABB39C}">
      <dgm:prSet/>
      <dgm:spPr/>
      <dgm:t>
        <a:bodyPr/>
        <a:lstStyle/>
        <a:p>
          <a:endParaRPr lang="it-IT"/>
        </a:p>
      </dgm:t>
    </dgm:pt>
    <dgm:pt modelId="{1BB7ACAC-DDE5-41AB-BCCF-5390D030D3B7}">
      <dgm:prSet phldrT="[Testo]"/>
      <dgm:spPr/>
      <dgm:t>
        <a:bodyPr/>
        <a:lstStyle/>
        <a:p>
          <a:r>
            <a:rPr lang="it-IT" dirty="0" smtClean="0"/>
            <a:t>Nuovo rapporto con il cliente</a:t>
          </a:r>
          <a:endParaRPr lang="it-IT" dirty="0"/>
        </a:p>
      </dgm:t>
    </dgm:pt>
    <dgm:pt modelId="{E6A350FA-0EEE-47BB-A557-39197EF66B93}" type="parTrans" cxnId="{60E3696A-5F2E-47A5-A142-D08EE20D4AC5}">
      <dgm:prSet/>
      <dgm:spPr/>
      <dgm:t>
        <a:bodyPr/>
        <a:lstStyle/>
        <a:p>
          <a:endParaRPr lang="it-IT"/>
        </a:p>
      </dgm:t>
    </dgm:pt>
    <dgm:pt modelId="{B7C3124D-688A-4724-A2CD-13193204056C}" type="sibTrans" cxnId="{60E3696A-5F2E-47A5-A142-D08EE20D4AC5}">
      <dgm:prSet/>
      <dgm:spPr/>
      <dgm:t>
        <a:bodyPr/>
        <a:lstStyle/>
        <a:p>
          <a:endParaRPr lang="it-IT"/>
        </a:p>
      </dgm:t>
    </dgm:pt>
    <dgm:pt modelId="{4C0F5712-A9C4-4CCC-A9C4-FB073A944BBC}">
      <dgm:prSet phldrT="[Testo]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it-IT" dirty="0"/>
        </a:p>
      </dgm:t>
    </dgm:pt>
    <dgm:pt modelId="{9E32841F-381F-4E2C-92EF-4A48E9467027}" type="parTrans" cxnId="{EE0AE076-0FA4-4B8F-9D27-46B2DD7CDCA9}">
      <dgm:prSet/>
      <dgm:spPr/>
      <dgm:t>
        <a:bodyPr/>
        <a:lstStyle/>
        <a:p>
          <a:endParaRPr lang="it-IT"/>
        </a:p>
      </dgm:t>
    </dgm:pt>
    <dgm:pt modelId="{8FFF23C1-DBAF-4BF3-A096-0B2FB4EABE7B}" type="sibTrans" cxnId="{EE0AE076-0FA4-4B8F-9D27-46B2DD7CDCA9}">
      <dgm:prSet/>
      <dgm:spPr/>
      <dgm:t>
        <a:bodyPr/>
        <a:lstStyle/>
        <a:p>
          <a:endParaRPr lang="it-IT"/>
        </a:p>
      </dgm:t>
    </dgm:pt>
    <dgm:pt modelId="{AE8EACE0-D208-48DC-A1E9-754AF125FEEE}">
      <dgm:prSet phldrT="[Testo]"/>
      <dgm:spPr/>
      <dgm:t>
        <a:bodyPr/>
        <a:lstStyle/>
        <a:p>
          <a:r>
            <a:rPr lang="it-IT" dirty="0" smtClean="0"/>
            <a:t>Nuovi prodotti</a:t>
          </a:r>
          <a:endParaRPr lang="it-IT" dirty="0"/>
        </a:p>
      </dgm:t>
    </dgm:pt>
    <dgm:pt modelId="{69760846-08E0-4ABA-BA15-CDABBAE40B3F}" type="parTrans" cxnId="{B0414C3A-5296-4D68-9F81-387914A46BC8}">
      <dgm:prSet/>
      <dgm:spPr/>
      <dgm:t>
        <a:bodyPr/>
        <a:lstStyle/>
        <a:p>
          <a:endParaRPr lang="it-IT"/>
        </a:p>
      </dgm:t>
    </dgm:pt>
    <dgm:pt modelId="{193572EB-A0D7-4F97-8694-AC66680C152E}" type="sibTrans" cxnId="{B0414C3A-5296-4D68-9F81-387914A46BC8}">
      <dgm:prSet/>
      <dgm:spPr/>
      <dgm:t>
        <a:bodyPr/>
        <a:lstStyle/>
        <a:p>
          <a:endParaRPr lang="it-IT"/>
        </a:p>
      </dgm:t>
    </dgm:pt>
    <dgm:pt modelId="{E52DE4BE-A592-4251-9206-7E252B2623B3}">
      <dgm:prSet phldrT="[Testo]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it-IT" dirty="0"/>
        </a:p>
      </dgm:t>
    </dgm:pt>
    <dgm:pt modelId="{C10008B8-75E1-430F-ACF7-6191D670EB85}" type="parTrans" cxnId="{60E6D214-4222-4AC3-B2D0-BA6F4801881D}">
      <dgm:prSet/>
      <dgm:spPr/>
      <dgm:t>
        <a:bodyPr/>
        <a:lstStyle/>
        <a:p>
          <a:endParaRPr lang="it-IT"/>
        </a:p>
      </dgm:t>
    </dgm:pt>
    <dgm:pt modelId="{B8B13C4C-9F27-4DF3-9608-3B2E636563C3}" type="sibTrans" cxnId="{60E6D214-4222-4AC3-B2D0-BA6F4801881D}">
      <dgm:prSet/>
      <dgm:spPr/>
      <dgm:t>
        <a:bodyPr/>
        <a:lstStyle/>
        <a:p>
          <a:endParaRPr lang="it-IT"/>
        </a:p>
      </dgm:t>
    </dgm:pt>
    <dgm:pt modelId="{8BAC5869-27F0-4A5B-8D0C-3197D9513DAD}">
      <dgm:prSet phldrT="[Testo]"/>
      <dgm:spPr/>
      <dgm:t>
        <a:bodyPr/>
        <a:lstStyle/>
        <a:p>
          <a:r>
            <a:rPr lang="it-IT" dirty="0" smtClean="0"/>
            <a:t>Nuova interazione con i </a:t>
          </a:r>
          <a:r>
            <a:rPr lang="it-IT" dirty="0" smtClean="0"/>
            <a:t>fornitori e con il capitale umano proprio</a:t>
          </a:r>
          <a:endParaRPr lang="it-IT" dirty="0"/>
        </a:p>
      </dgm:t>
    </dgm:pt>
    <dgm:pt modelId="{121FEE53-0F6A-4F2C-BADC-2E8BC81A474E}" type="parTrans" cxnId="{A6D08105-4408-452A-9B19-92B5AC3BB9A8}">
      <dgm:prSet/>
      <dgm:spPr/>
      <dgm:t>
        <a:bodyPr/>
        <a:lstStyle/>
        <a:p>
          <a:endParaRPr lang="it-IT"/>
        </a:p>
      </dgm:t>
    </dgm:pt>
    <dgm:pt modelId="{58583851-4589-424A-BBCE-EDB58E13AFC2}" type="sibTrans" cxnId="{A6D08105-4408-452A-9B19-92B5AC3BB9A8}">
      <dgm:prSet/>
      <dgm:spPr/>
      <dgm:t>
        <a:bodyPr/>
        <a:lstStyle/>
        <a:p>
          <a:endParaRPr lang="it-IT"/>
        </a:p>
      </dgm:t>
    </dgm:pt>
    <dgm:pt modelId="{D9476151-AF4D-42B5-A648-D8A98E502FF8}" type="pres">
      <dgm:prSet presAssocID="{3B981E36-EB0D-43EF-9019-F5B70785F7C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9A44FE-6754-4748-923E-2F9570A167CD}" type="pres">
      <dgm:prSet presAssocID="{D139AE36-9447-4CD0-BFD1-9AEC2D3C5126}" presName="composite" presStyleCnt="0"/>
      <dgm:spPr/>
    </dgm:pt>
    <dgm:pt modelId="{2E34F3AE-10EC-46DC-B034-24BC55B69EE3}" type="pres">
      <dgm:prSet presAssocID="{D139AE36-9447-4CD0-BFD1-9AEC2D3C5126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6020B36-4773-47E1-8295-68444BDC2609}" type="pres">
      <dgm:prSet presAssocID="{D139AE36-9447-4CD0-BFD1-9AEC2D3C5126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938CEA6-3457-47C0-947D-BA1E535CFBF4}" type="pres">
      <dgm:prSet presAssocID="{FF224B0D-6BD1-4838-9353-7F7C0B43A6B2}" presName="sp" presStyleCnt="0"/>
      <dgm:spPr/>
    </dgm:pt>
    <dgm:pt modelId="{3A2B8A23-29A4-438B-8843-3FE5587311D7}" type="pres">
      <dgm:prSet presAssocID="{4C0F5712-A9C4-4CCC-A9C4-FB073A944BBC}" presName="composite" presStyleCnt="0"/>
      <dgm:spPr/>
    </dgm:pt>
    <dgm:pt modelId="{BA5DAB17-CB43-4096-8C5C-FB32936C2B1C}" type="pres">
      <dgm:prSet presAssocID="{4C0F5712-A9C4-4CCC-A9C4-FB073A944BBC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6D715A6-CB4E-4699-840A-85B7F38DE80E}" type="pres">
      <dgm:prSet presAssocID="{4C0F5712-A9C4-4CCC-A9C4-FB073A944BBC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07B6316-E310-46E2-BFA4-3F0D5E875902}" type="pres">
      <dgm:prSet presAssocID="{8FFF23C1-DBAF-4BF3-A096-0B2FB4EABE7B}" presName="sp" presStyleCnt="0"/>
      <dgm:spPr/>
    </dgm:pt>
    <dgm:pt modelId="{BB79512A-24E8-4396-826F-AE812FB38F6F}" type="pres">
      <dgm:prSet presAssocID="{E52DE4BE-A592-4251-9206-7E252B2623B3}" presName="composite" presStyleCnt="0"/>
      <dgm:spPr/>
    </dgm:pt>
    <dgm:pt modelId="{7721A6D6-BF3B-46FC-B9CF-52E759E992A0}" type="pres">
      <dgm:prSet presAssocID="{E52DE4BE-A592-4251-9206-7E252B2623B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32994C8-9468-4C63-B0A7-7919362FDACE}" type="pres">
      <dgm:prSet presAssocID="{E52DE4BE-A592-4251-9206-7E252B2623B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D7E88684-D30C-4569-98F8-F1507A7CE0FD}" type="presOf" srcId="{D139AE36-9447-4CD0-BFD1-9AEC2D3C5126}" destId="{2E34F3AE-10EC-46DC-B034-24BC55B69EE3}" srcOrd="0" destOrd="0" presId="urn:microsoft.com/office/officeart/2005/8/layout/chevron2"/>
    <dgm:cxn modelId="{5A2D2200-8FBF-4DAC-B3F9-961C37ABB39C}" srcId="{3B981E36-EB0D-43EF-9019-F5B70785F7CE}" destId="{D139AE36-9447-4CD0-BFD1-9AEC2D3C5126}" srcOrd="0" destOrd="0" parTransId="{B7936C1F-CDB3-4EDB-B7EF-86061EB7459C}" sibTransId="{FF224B0D-6BD1-4838-9353-7F7C0B43A6B2}"/>
    <dgm:cxn modelId="{FFCE4F4C-1649-4464-BD43-812624EF7A17}" type="presOf" srcId="{8BAC5869-27F0-4A5B-8D0C-3197D9513DAD}" destId="{D32994C8-9468-4C63-B0A7-7919362FDACE}" srcOrd="0" destOrd="0" presId="urn:microsoft.com/office/officeart/2005/8/layout/chevron2"/>
    <dgm:cxn modelId="{60E3696A-5F2E-47A5-A142-D08EE20D4AC5}" srcId="{D139AE36-9447-4CD0-BFD1-9AEC2D3C5126}" destId="{1BB7ACAC-DDE5-41AB-BCCF-5390D030D3B7}" srcOrd="0" destOrd="0" parTransId="{E6A350FA-0EEE-47BB-A557-39197EF66B93}" sibTransId="{B7C3124D-688A-4724-A2CD-13193204056C}"/>
    <dgm:cxn modelId="{B0414C3A-5296-4D68-9F81-387914A46BC8}" srcId="{4C0F5712-A9C4-4CCC-A9C4-FB073A944BBC}" destId="{AE8EACE0-D208-48DC-A1E9-754AF125FEEE}" srcOrd="0" destOrd="0" parTransId="{69760846-08E0-4ABA-BA15-CDABBAE40B3F}" sibTransId="{193572EB-A0D7-4F97-8694-AC66680C152E}"/>
    <dgm:cxn modelId="{77AF7217-0975-46F3-804C-74A0C8DFFF79}" type="presOf" srcId="{AE8EACE0-D208-48DC-A1E9-754AF125FEEE}" destId="{C6D715A6-CB4E-4699-840A-85B7F38DE80E}" srcOrd="0" destOrd="0" presId="urn:microsoft.com/office/officeart/2005/8/layout/chevron2"/>
    <dgm:cxn modelId="{70922CF6-BB9A-48C5-9774-5BB200E171E1}" type="presOf" srcId="{4C0F5712-A9C4-4CCC-A9C4-FB073A944BBC}" destId="{BA5DAB17-CB43-4096-8C5C-FB32936C2B1C}" srcOrd="0" destOrd="0" presId="urn:microsoft.com/office/officeart/2005/8/layout/chevron2"/>
    <dgm:cxn modelId="{60E6D214-4222-4AC3-B2D0-BA6F4801881D}" srcId="{3B981E36-EB0D-43EF-9019-F5B70785F7CE}" destId="{E52DE4BE-A592-4251-9206-7E252B2623B3}" srcOrd="2" destOrd="0" parTransId="{C10008B8-75E1-430F-ACF7-6191D670EB85}" sibTransId="{B8B13C4C-9F27-4DF3-9608-3B2E636563C3}"/>
    <dgm:cxn modelId="{A6D08105-4408-452A-9B19-92B5AC3BB9A8}" srcId="{E52DE4BE-A592-4251-9206-7E252B2623B3}" destId="{8BAC5869-27F0-4A5B-8D0C-3197D9513DAD}" srcOrd="0" destOrd="0" parTransId="{121FEE53-0F6A-4F2C-BADC-2E8BC81A474E}" sibTransId="{58583851-4589-424A-BBCE-EDB58E13AFC2}"/>
    <dgm:cxn modelId="{EE0AE076-0FA4-4B8F-9D27-46B2DD7CDCA9}" srcId="{3B981E36-EB0D-43EF-9019-F5B70785F7CE}" destId="{4C0F5712-A9C4-4CCC-A9C4-FB073A944BBC}" srcOrd="1" destOrd="0" parTransId="{9E32841F-381F-4E2C-92EF-4A48E9467027}" sibTransId="{8FFF23C1-DBAF-4BF3-A096-0B2FB4EABE7B}"/>
    <dgm:cxn modelId="{CB188676-0E7E-404B-8BCE-8994279C2C6D}" type="presOf" srcId="{E52DE4BE-A592-4251-9206-7E252B2623B3}" destId="{7721A6D6-BF3B-46FC-B9CF-52E759E992A0}" srcOrd="0" destOrd="0" presId="urn:microsoft.com/office/officeart/2005/8/layout/chevron2"/>
    <dgm:cxn modelId="{78FEDCF9-B51F-4164-AD0E-7FC31F135629}" type="presOf" srcId="{1BB7ACAC-DDE5-41AB-BCCF-5390D030D3B7}" destId="{A6020B36-4773-47E1-8295-68444BDC2609}" srcOrd="0" destOrd="0" presId="urn:microsoft.com/office/officeart/2005/8/layout/chevron2"/>
    <dgm:cxn modelId="{8C8D60EB-4AA5-43EA-96D5-A99E82D7BDBA}" type="presOf" srcId="{3B981E36-EB0D-43EF-9019-F5B70785F7CE}" destId="{D9476151-AF4D-42B5-A648-D8A98E502FF8}" srcOrd="0" destOrd="0" presId="urn:microsoft.com/office/officeart/2005/8/layout/chevron2"/>
    <dgm:cxn modelId="{56F6C929-0A14-44D9-8F54-C04C8379A398}" type="presParOf" srcId="{D9476151-AF4D-42B5-A648-D8A98E502FF8}" destId="{919A44FE-6754-4748-923E-2F9570A167CD}" srcOrd="0" destOrd="0" presId="urn:microsoft.com/office/officeart/2005/8/layout/chevron2"/>
    <dgm:cxn modelId="{04F7C0A3-D371-4431-BEEA-0CF3732D1852}" type="presParOf" srcId="{919A44FE-6754-4748-923E-2F9570A167CD}" destId="{2E34F3AE-10EC-46DC-B034-24BC55B69EE3}" srcOrd="0" destOrd="0" presId="urn:microsoft.com/office/officeart/2005/8/layout/chevron2"/>
    <dgm:cxn modelId="{A9E63860-0211-4DE8-8D48-F49175D87822}" type="presParOf" srcId="{919A44FE-6754-4748-923E-2F9570A167CD}" destId="{A6020B36-4773-47E1-8295-68444BDC2609}" srcOrd="1" destOrd="0" presId="urn:microsoft.com/office/officeart/2005/8/layout/chevron2"/>
    <dgm:cxn modelId="{0ABEF931-A4F8-4CE4-AD09-B0F40DFCE13B}" type="presParOf" srcId="{D9476151-AF4D-42B5-A648-D8A98E502FF8}" destId="{4938CEA6-3457-47C0-947D-BA1E535CFBF4}" srcOrd="1" destOrd="0" presId="urn:microsoft.com/office/officeart/2005/8/layout/chevron2"/>
    <dgm:cxn modelId="{1B168E0F-3239-426C-B37E-1BE4E2132363}" type="presParOf" srcId="{D9476151-AF4D-42B5-A648-D8A98E502FF8}" destId="{3A2B8A23-29A4-438B-8843-3FE5587311D7}" srcOrd="2" destOrd="0" presId="urn:microsoft.com/office/officeart/2005/8/layout/chevron2"/>
    <dgm:cxn modelId="{CD8EA1CE-E1A1-487C-B115-2A97B5CA0704}" type="presParOf" srcId="{3A2B8A23-29A4-438B-8843-3FE5587311D7}" destId="{BA5DAB17-CB43-4096-8C5C-FB32936C2B1C}" srcOrd="0" destOrd="0" presId="urn:microsoft.com/office/officeart/2005/8/layout/chevron2"/>
    <dgm:cxn modelId="{535004F8-915F-4793-8699-38FA86388CCB}" type="presParOf" srcId="{3A2B8A23-29A4-438B-8843-3FE5587311D7}" destId="{C6D715A6-CB4E-4699-840A-85B7F38DE80E}" srcOrd="1" destOrd="0" presId="urn:microsoft.com/office/officeart/2005/8/layout/chevron2"/>
    <dgm:cxn modelId="{74B2D555-B00F-41AC-B4D5-626649FBAA2F}" type="presParOf" srcId="{D9476151-AF4D-42B5-A648-D8A98E502FF8}" destId="{A07B6316-E310-46E2-BFA4-3F0D5E875902}" srcOrd="3" destOrd="0" presId="urn:microsoft.com/office/officeart/2005/8/layout/chevron2"/>
    <dgm:cxn modelId="{162C59F4-B745-4922-9685-F236F69CEC65}" type="presParOf" srcId="{D9476151-AF4D-42B5-A648-D8A98E502FF8}" destId="{BB79512A-24E8-4396-826F-AE812FB38F6F}" srcOrd="4" destOrd="0" presId="urn:microsoft.com/office/officeart/2005/8/layout/chevron2"/>
    <dgm:cxn modelId="{FD98F4F4-411A-4DC5-85B4-C6AA56AB7A9E}" type="presParOf" srcId="{BB79512A-24E8-4396-826F-AE812FB38F6F}" destId="{7721A6D6-BF3B-46FC-B9CF-52E759E992A0}" srcOrd="0" destOrd="0" presId="urn:microsoft.com/office/officeart/2005/8/layout/chevron2"/>
    <dgm:cxn modelId="{59F1DC6D-DABD-4DE9-88A1-F4FE42F57048}" type="presParOf" srcId="{BB79512A-24E8-4396-826F-AE812FB38F6F}" destId="{D32994C8-9468-4C63-B0A7-7919362FDAC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DE7EB95-C12F-4C04-8AA5-1B6DA3EFB221}" type="doc">
      <dgm:prSet loTypeId="urn:microsoft.com/office/officeart/2005/8/layout/radial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0288C1FA-9313-4A93-8429-5B3D8443DBE4}">
      <dgm:prSet phldrT="[Testo]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it-IT" dirty="0"/>
        </a:p>
      </dgm:t>
    </dgm:pt>
    <dgm:pt modelId="{B5EB010E-3092-41CD-BAFE-9AC1241C6C3C}" type="parTrans" cxnId="{B3B30D02-4586-431E-AA00-966A4C0E6D41}">
      <dgm:prSet/>
      <dgm:spPr/>
      <dgm:t>
        <a:bodyPr/>
        <a:lstStyle/>
        <a:p>
          <a:endParaRPr lang="it-IT"/>
        </a:p>
      </dgm:t>
    </dgm:pt>
    <dgm:pt modelId="{FD0D30DC-28EF-4827-8CBA-AFCA12EE0757}" type="sibTrans" cxnId="{B3B30D02-4586-431E-AA00-966A4C0E6D41}">
      <dgm:prSet/>
      <dgm:spPr/>
      <dgm:t>
        <a:bodyPr/>
        <a:lstStyle/>
        <a:p>
          <a:endParaRPr lang="it-IT"/>
        </a:p>
      </dgm:t>
    </dgm:pt>
    <dgm:pt modelId="{29E4F28F-AF89-4980-9D4C-A7AB54CC9F3F}">
      <dgm:prSet phldrT="[Testo]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it-IT" dirty="0"/>
        </a:p>
      </dgm:t>
    </dgm:pt>
    <dgm:pt modelId="{056D8B0F-6A80-45B1-B016-0E419DA2FE98}" type="parTrans" cxnId="{01509F25-5E9C-4F1C-BB33-22D47E469C80}">
      <dgm:prSet/>
      <dgm:spPr/>
      <dgm:t>
        <a:bodyPr/>
        <a:lstStyle/>
        <a:p>
          <a:endParaRPr lang="it-IT"/>
        </a:p>
      </dgm:t>
    </dgm:pt>
    <dgm:pt modelId="{6A9A094D-F079-42D6-8972-B0382E34FAAA}" type="sibTrans" cxnId="{01509F25-5E9C-4F1C-BB33-22D47E469C80}">
      <dgm:prSet/>
      <dgm:spPr/>
      <dgm:t>
        <a:bodyPr/>
        <a:lstStyle/>
        <a:p>
          <a:endParaRPr lang="it-IT"/>
        </a:p>
      </dgm:t>
    </dgm:pt>
    <dgm:pt modelId="{DBA1DF06-4E9F-4538-9B2A-CF58560ED12E}">
      <dgm:prSet phldrT="[Testo]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it-IT" dirty="0"/>
        </a:p>
      </dgm:t>
    </dgm:pt>
    <dgm:pt modelId="{6EE0E28D-9A6E-4249-8781-AF1CF2E833FA}" type="parTrans" cxnId="{AFE2B0D8-8045-4D0E-B7F2-4E20E1054B95}">
      <dgm:prSet/>
      <dgm:spPr/>
      <dgm:t>
        <a:bodyPr/>
        <a:lstStyle/>
        <a:p>
          <a:endParaRPr lang="it-IT"/>
        </a:p>
      </dgm:t>
    </dgm:pt>
    <dgm:pt modelId="{0C3AD687-5F82-488E-8394-AB661EA0560A}" type="sibTrans" cxnId="{AFE2B0D8-8045-4D0E-B7F2-4E20E1054B95}">
      <dgm:prSet/>
      <dgm:spPr/>
      <dgm:t>
        <a:bodyPr/>
        <a:lstStyle/>
        <a:p>
          <a:endParaRPr lang="it-IT"/>
        </a:p>
      </dgm:t>
    </dgm:pt>
    <dgm:pt modelId="{4B1FC25A-8276-4545-8412-BCDF511B3360}">
      <dgm:prSet phldrT="[Testo]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it-IT" dirty="0"/>
        </a:p>
      </dgm:t>
    </dgm:pt>
    <dgm:pt modelId="{975BF056-6E45-4BCD-B425-CAA9F476C7EF}" type="parTrans" cxnId="{7673C4C5-81AB-42BE-BFEB-642366FEAF06}">
      <dgm:prSet/>
      <dgm:spPr/>
      <dgm:t>
        <a:bodyPr/>
        <a:lstStyle/>
        <a:p>
          <a:endParaRPr lang="it-IT"/>
        </a:p>
      </dgm:t>
    </dgm:pt>
    <dgm:pt modelId="{4EFDE404-1453-464A-B565-3146426819E5}" type="sibTrans" cxnId="{7673C4C5-81AB-42BE-BFEB-642366FEAF06}">
      <dgm:prSet/>
      <dgm:spPr/>
      <dgm:t>
        <a:bodyPr/>
        <a:lstStyle/>
        <a:p>
          <a:endParaRPr lang="it-IT"/>
        </a:p>
      </dgm:t>
    </dgm:pt>
    <dgm:pt modelId="{776B4D7E-CF56-4D0E-9D15-D9CA40C70B24}">
      <dgm:prSet phldrT="[Testo]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it-IT" dirty="0"/>
        </a:p>
      </dgm:t>
    </dgm:pt>
    <dgm:pt modelId="{2CC88CB8-4054-4A74-9FFB-FADCE7B68BB4}" type="parTrans" cxnId="{867D5D51-8AAC-4AD4-832A-F22C8B3821AB}">
      <dgm:prSet/>
      <dgm:spPr/>
      <dgm:t>
        <a:bodyPr/>
        <a:lstStyle/>
        <a:p>
          <a:endParaRPr lang="it-IT"/>
        </a:p>
      </dgm:t>
    </dgm:pt>
    <dgm:pt modelId="{D88E2098-6CE2-49E9-BF41-E12AAC8FF890}" type="sibTrans" cxnId="{867D5D51-8AAC-4AD4-832A-F22C8B3821AB}">
      <dgm:prSet/>
      <dgm:spPr/>
      <dgm:t>
        <a:bodyPr/>
        <a:lstStyle/>
        <a:p>
          <a:endParaRPr lang="it-IT"/>
        </a:p>
      </dgm:t>
    </dgm:pt>
    <dgm:pt modelId="{43C5457A-9145-4926-A53A-0A8156247D36}" type="pres">
      <dgm:prSet presAssocID="{0DE7EB95-C12F-4C04-8AA5-1B6DA3EFB221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983C0B0-C4A5-47B6-AA3A-C35D43492EAC}" type="pres">
      <dgm:prSet presAssocID="{0288C1FA-9313-4A93-8429-5B3D8443DBE4}" presName="centerShape" presStyleLbl="node0" presStyleIdx="0" presStyleCnt="1" custScaleX="221786" custScaleY="164917" custLinFactNeighborY="3328"/>
      <dgm:spPr/>
    </dgm:pt>
    <dgm:pt modelId="{8DABC641-4AA8-4AA5-A012-F41703E6992A}" type="pres">
      <dgm:prSet presAssocID="{29E4F28F-AF89-4980-9D4C-A7AB54CC9F3F}" presName="node" presStyleLbl="node1" presStyleIdx="0" presStyleCnt="4">
        <dgm:presLayoutVars>
          <dgm:bulletEnabled val="1"/>
        </dgm:presLayoutVars>
      </dgm:prSet>
      <dgm:spPr/>
    </dgm:pt>
    <dgm:pt modelId="{7DD190C3-6513-4D94-A8C1-0C0D54CF3B51}" type="pres">
      <dgm:prSet presAssocID="{29E4F28F-AF89-4980-9D4C-A7AB54CC9F3F}" presName="dummy" presStyleCnt="0"/>
      <dgm:spPr/>
    </dgm:pt>
    <dgm:pt modelId="{41623D6F-EB29-483E-A1A2-BB68D8B15500}" type="pres">
      <dgm:prSet presAssocID="{6A9A094D-F079-42D6-8972-B0382E34FAAA}" presName="sibTrans" presStyleLbl="sibTrans2D1" presStyleIdx="0" presStyleCnt="4"/>
      <dgm:spPr/>
    </dgm:pt>
    <dgm:pt modelId="{9DC66695-B4BD-4F30-8A4D-C28F27DEC808}" type="pres">
      <dgm:prSet presAssocID="{DBA1DF06-4E9F-4538-9B2A-CF58560ED12E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2475349-7C54-451A-965A-CFE038A55E9C}" type="pres">
      <dgm:prSet presAssocID="{DBA1DF06-4E9F-4538-9B2A-CF58560ED12E}" presName="dummy" presStyleCnt="0"/>
      <dgm:spPr/>
    </dgm:pt>
    <dgm:pt modelId="{4D60E5BF-ACC1-4580-AD98-6C6DDEA61ECB}" type="pres">
      <dgm:prSet presAssocID="{0C3AD687-5F82-488E-8394-AB661EA0560A}" presName="sibTrans" presStyleLbl="sibTrans2D1" presStyleIdx="1" presStyleCnt="4"/>
      <dgm:spPr/>
    </dgm:pt>
    <dgm:pt modelId="{9AD56C7C-7C77-4EC8-BF84-0BE1A3C96444}" type="pres">
      <dgm:prSet presAssocID="{4B1FC25A-8276-4545-8412-BCDF511B3360}" presName="node" presStyleLbl="node1" presStyleIdx="2" presStyleCnt="4">
        <dgm:presLayoutVars>
          <dgm:bulletEnabled val="1"/>
        </dgm:presLayoutVars>
      </dgm:prSet>
      <dgm:spPr/>
    </dgm:pt>
    <dgm:pt modelId="{BF1A11CC-5AFB-44A6-9142-1CB9609AC2D1}" type="pres">
      <dgm:prSet presAssocID="{4B1FC25A-8276-4545-8412-BCDF511B3360}" presName="dummy" presStyleCnt="0"/>
      <dgm:spPr/>
    </dgm:pt>
    <dgm:pt modelId="{E9F685DC-B2A8-41FD-8484-B37EF29F6E79}" type="pres">
      <dgm:prSet presAssocID="{4EFDE404-1453-464A-B565-3146426819E5}" presName="sibTrans" presStyleLbl="sibTrans2D1" presStyleIdx="2" presStyleCnt="4"/>
      <dgm:spPr/>
    </dgm:pt>
    <dgm:pt modelId="{466D6553-CC8D-438C-9CC5-EC997E4268D1}" type="pres">
      <dgm:prSet presAssocID="{776B4D7E-CF56-4D0E-9D15-D9CA40C70B24}" presName="node" presStyleLbl="node1" presStyleIdx="3" presStyleCnt="4">
        <dgm:presLayoutVars>
          <dgm:bulletEnabled val="1"/>
        </dgm:presLayoutVars>
      </dgm:prSet>
      <dgm:spPr/>
    </dgm:pt>
    <dgm:pt modelId="{27B8E323-1E4D-4029-B697-2CC875A1B3EB}" type="pres">
      <dgm:prSet presAssocID="{776B4D7E-CF56-4D0E-9D15-D9CA40C70B24}" presName="dummy" presStyleCnt="0"/>
      <dgm:spPr/>
    </dgm:pt>
    <dgm:pt modelId="{93070D53-A441-41BB-84FC-6372F7584659}" type="pres">
      <dgm:prSet presAssocID="{D88E2098-6CE2-49E9-BF41-E12AAC8FF890}" presName="sibTrans" presStyleLbl="sibTrans2D1" presStyleIdx="3" presStyleCnt="4"/>
      <dgm:spPr/>
    </dgm:pt>
  </dgm:ptLst>
  <dgm:cxnLst>
    <dgm:cxn modelId="{B1B2550F-1989-419D-9615-356BDA414C1F}" type="presOf" srcId="{6A9A094D-F079-42D6-8972-B0382E34FAAA}" destId="{41623D6F-EB29-483E-A1A2-BB68D8B15500}" srcOrd="0" destOrd="0" presId="urn:microsoft.com/office/officeart/2005/8/layout/radial6"/>
    <dgm:cxn modelId="{84E333D0-897E-4B6D-9644-B9E52FCE563D}" type="presOf" srcId="{0DE7EB95-C12F-4C04-8AA5-1B6DA3EFB221}" destId="{43C5457A-9145-4926-A53A-0A8156247D36}" srcOrd="0" destOrd="0" presId="urn:microsoft.com/office/officeart/2005/8/layout/radial6"/>
    <dgm:cxn modelId="{10126EEE-28F0-4757-9955-2358EB1989A8}" type="presOf" srcId="{29E4F28F-AF89-4980-9D4C-A7AB54CC9F3F}" destId="{8DABC641-4AA8-4AA5-A012-F41703E6992A}" srcOrd="0" destOrd="0" presId="urn:microsoft.com/office/officeart/2005/8/layout/radial6"/>
    <dgm:cxn modelId="{7673C4C5-81AB-42BE-BFEB-642366FEAF06}" srcId="{0288C1FA-9313-4A93-8429-5B3D8443DBE4}" destId="{4B1FC25A-8276-4545-8412-BCDF511B3360}" srcOrd="2" destOrd="0" parTransId="{975BF056-6E45-4BCD-B425-CAA9F476C7EF}" sibTransId="{4EFDE404-1453-464A-B565-3146426819E5}"/>
    <dgm:cxn modelId="{845DC996-C436-42BE-917E-158D73F54EEB}" type="presOf" srcId="{0288C1FA-9313-4A93-8429-5B3D8443DBE4}" destId="{3983C0B0-C4A5-47B6-AA3A-C35D43492EAC}" srcOrd="0" destOrd="0" presId="urn:microsoft.com/office/officeart/2005/8/layout/radial6"/>
    <dgm:cxn modelId="{3BE811E9-DC0C-484D-9E4B-0AFF9B49D9E4}" type="presOf" srcId="{4B1FC25A-8276-4545-8412-BCDF511B3360}" destId="{9AD56C7C-7C77-4EC8-BF84-0BE1A3C96444}" srcOrd="0" destOrd="0" presId="urn:microsoft.com/office/officeart/2005/8/layout/radial6"/>
    <dgm:cxn modelId="{867D5D51-8AAC-4AD4-832A-F22C8B3821AB}" srcId="{0288C1FA-9313-4A93-8429-5B3D8443DBE4}" destId="{776B4D7E-CF56-4D0E-9D15-D9CA40C70B24}" srcOrd="3" destOrd="0" parTransId="{2CC88CB8-4054-4A74-9FFB-FADCE7B68BB4}" sibTransId="{D88E2098-6CE2-49E9-BF41-E12AAC8FF890}"/>
    <dgm:cxn modelId="{AFE2B0D8-8045-4D0E-B7F2-4E20E1054B95}" srcId="{0288C1FA-9313-4A93-8429-5B3D8443DBE4}" destId="{DBA1DF06-4E9F-4538-9B2A-CF58560ED12E}" srcOrd="1" destOrd="0" parTransId="{6EE0E28D-9A6E-4249-8781-AF1CF2E833FA}" sibTransId="{0C3AD687-5F82-488E-8394-AB661EA0560A}"/>
    <dgm:cxn modelId="{F3A41A4B-491B-409D-A8E6-40BB515B1F74}" type="presOf" srcId="{4EFDE404-1453-464A-B565-3146426819E5}" destId="{E9F685DC-B2A8-41FD-8484-B37EF29F6E79}" srcOrd="0" destOrd="0" presId="urn:microsoft.com/office/officeart/2005/8/layout/radial6"/>
    <dgm:cxn modelId="{D09C8FBE-4BB2-442D-8CE4-3BE7EBCC669A}" type="presOf" srcId="{D88E2098-6CE2-49E9-BF41-E12AAC8FF890}" destId="{93070D53-A441-41BB-84FC-6372F7584659}" srcOrd="0" destOrd="0" presId="urn:microsoft.com/office/officeart/2005/8/layout/radial6"/>
    <dgm:cxn modelId="{DBFF4C87-42BB-42DD-8E7F-175FC28AE75C}" type="presOf" srcId="{776B4D7E-CF56-4D0E-9D15-D9CA40C70B24}" destId="{466D6553-CC8D-438C-9CC5-EC997E4268D1}" srcOrd="0" destOrd="0" presId="urn:microsoft.com/office/officeart/2005/8/layout/radial6"/>
    <dgm:cxn modelId="{49AE0869-7D7A-4039-9BB2-557D2D669C93}" type="presOf" srcId="{DBA1DF06-4E9F-4538-9B2A-CF58560ED12E}" destId="{9DC66695-B4BD-4F30-8A4D-C28F27DEC808}" srcOrd="0" destOrd="0" presId="urn:microsoft.com/office/officeart/2005/8/layout/radial6"/>
    <dgm:cxn modelId="{01509F25-5E9C-4F1C-BB33-22D47E469C80}" srcId="{0288C1FA-9313-4A93-8429-5B3D8443DBE4}" destId="{29E4F28F-AF89-4980-9D4C-A7AB54CC9F3F}" srcOrd="0" destOrd="0" parTransId="{056D8B0F-6A80-45B1-B016-0E419DA2FE98}" sibTransId="{6A9A094D-F079-42D6-8972-B0382E34FAAA}"/>
    <dgm:cxn modelId="{B3B30D02-4586-431E-AA00-966A4C0E6D41}" srcId="{0DE7EB95-C12F-4C04-8AA5-1B6DA3EFB221}" destId="{0288C1FA-9313-4A93-8429-5B3D8443DBE4}" srcOrd="0" destOrd="0" parTransId="{B5EB010E-3092-41CD-BAFE-9AC1241C6C3C}" sibTransId="{FD0D30DC-28EF-4827-8CBA-AFCA12EE0757}"/>
    <dgm:cxn modelId="{D1B793F4-C5AB-42EF-A9D2-91C6B4E43985}" type="presOf" srcId="{0C3AD687-5F82-488E-8394-AB661EA0560A}" destId="{4D60E5BF-ACC1-4580-AD98-6C6DDEA61ECB}" srcOrd="0" destOrd="0" presId="urn:microsoft.com/office/officeart/2005/8/layout/radial6"/>
    <dgm:cxn modelId="{7EFC2BB8-A198-4384-BCDB-A12ADB013A77}" type="presParOf" srcId="{43C5457A-9145-4926-A53A-0A8156247D36}" destId="{3983C0B0-C4A5-47B6-AA3A-C35D43492EAC}" srcOrd="0" destOrd="0" presId="urn:microsoft.com/office/officeart/2005/8/layout/radial6"/>
    <dgm:cxn modelId="{AA639479-A3C8-4997-9567-EC43FE507EAD}" type="presParOf" srcId="{43C5457A-9145-4926-A53A-0A8156247D36}" destId="{8DABC641-4AA8-4AA5-A012-F41703E6992A}" srcOrd="1" destOrd="0" presId="urn:microsoft.com/office/officeart/2005/8/layout/radial6"/>
    <dgm:cxn modelId="{E3B8D83D-76D3-45CB-9BD3-0A1CEA46A336}" type="presParOf" srcId="{43C5457A-9145-4926-A53A-0A8156247D36}" destId="{7DD190C3-6513-4D94-A8C1-0C0D54CF3B51}" srcOrd="2" destOrd="0" presId="urn:microsoft.com/office/officeart/2005/8/layout/radial6"/>
    <dgm:cxn modelId="{A854FCE2-11C9-4A3D-955F-DBB23B568B26}" type="presParOf" srcId="{43C5457A-9145-4926-A53A-0A8156247D36}" destId="{41623D6F-EB29-483E-A1A2-BB68D8B15500}" srcOrd="3" destOrd="0" presId="urn:microsoft.com/office/officeart/2005/8/layout/radial6"/>
    <dgm:cxn modelId="{CE6933DA-3D72-420E-80BF-B116190468EF}" type="presParOf" srcId="{43C5457A-9145-4926-A53A-0A8156247D36}" destId="{9DC66695-B4BD-4F30-8A4D-C28F27DEC808}" srcOrd="4" destOrd="0" presId="urn:microsoft.com/office/officeart/2005/8/layout/radial6"/>
    <dgm:cxn modelId="{28C97B37-6E3C-40FD-87E1-2C661C37003E}" type="presParOf" srcId="{43C5457A-9145-4926-A53A-0A8156247D36}" destId="{22475349-7C54-451A-965A-CFE038A55E9C}" srcOrd="5" destOrd="0" presId="urn:microsoft.com/office/officeart/2005/8/layout/radial6"/>
    <dgm:cxn modelId="{0EEB96A7-EEFD-4521-8567-3FC40E1699CF}" type="presParOf" srcId="{43C5457A-9145-4926-A53A-0A8156247D36}" destId="{4D60E5BF-ACC1-4580-AD98-6C6DDEA61ECB}" srcOrd="6" destOrd="0" presId="urn:microsoft.com/office/officeart/2005/8/layout/radial6"/>
    <dgm:cxn modelId="{63277A03-3DFB-4BB2-A3EE-9982E15AACA1}" type="presParOf" srcId="{43C5457A-9145-4926-A53A-0A8156247D36}" destId="{9AD56C7C-7C77-4EC8-BF84-0BE1A3C96444}" srcOrd="7" destOrd="0" presId="urn:microsoft.com/office/officeart/2005/8/layout/radial6"/>
    <dgm:cxn modelId="{067976E8-49B8-45BD-857F-9A5DAF2DF96F}" type="presParOf" srcId="{43C5457A-9145-4926-A53A-0A8156247D36}" destId="{BF1A11CC-5AFB-44A6-9142-1CB9609AC2D1}" srcOrd="8" destOrd="0" presId="urn:microsoft.com/office/officeart/2005/8/layout/radial6"/>
    <dgm:cxn modelId="{36778C78-0808-49A7-9677-020BD7DB5F25}" type="presParOf" srcId="{43C5457A-9145-4926-A53A-0A8156247D36}" destId="{E9F685DC-B2A8-41FD-8484-B37EF29F6E79}" srcOrd="9" destOrd="0" presId="urn:microsoft.com/office/officeart/2005/8/layout/radial6"/>
    <dgm:cxn modelId="{D8B86E18-BF3E-484C-85E8-3FBC1F8167F0}" type="presParOf" srcId="{43C5457A-9145-4926-A53A-0A8156247D36}" destId="{466D6553-CC8D-438C-9CC5-EC997E4268D1}" srcOrd="10" destOrd="0" presId="urn:microsoft.com/office/officeart/2005/8/layout/radial6"/>
    <dgm:cxn modelId="{7791E4B6-8FA8-4779-9E1D-F659B7CF44FC}" type="presParOf" srcId="{43C5457A-9145-4926-A53A-0A8156247D36}" destId="{27B8E323-1E4D-4029-B697-2CC875A1B3EB}" srcOrd="11" destOrd="0" presId="urn:microsoft.com/office/officeart/2005/8/layout/radial6"/>
    <dgm:cxn modelId="{E7C3008E-CA0D-49F3-AD0B-CC257E1E9FE7}" type="presParOf" srcId="{43C5457A-9145-4926-A53A-0A8156247D36}" destId="{93070D53-A441-41BB-84FC-6372F7584659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ABA904-EB5F-4118-875A-32E192156C00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DD0CBB0-1D1E-4A22-8CF5-4EA27B073960}">
      <dgm:prSet phldrT="[Testo]"/>
      <dgm:spPr/>
      <dgm:t>
        <a:bodyPr/>
        <a:lstStyle/>
        <a:p>
          <a:r>
            <a:rPr lang="it-IT" dirty="0" smtClean="0"/>
            <a:t>Capitale umano</a:t>
          </a:r>
          <a:endParaRPr lang="it-IT" dirty="0"/>
        </a:p>
      </dgm:t>
    </dgm:pt>
    <dgm:pt modelId="{366A0269-E479-49B6-9D35-E5A8D3F6094C}" type="parTrans" cxnId="{A13AC008-8122-471C-8AED-D0A18812F402}">
      <dgm:prSet/>
      <dgm:spPr/>
      <dgm:t>
        <a:bodyPr/>
        <a:lstStyle/>
        <a:p>
          <a:endParaRPr lang="it-IT"/>
        </a:p>
      </dgm:t>
    </dgm:pt>
    <dgm:pt modelId="{B6A0BBC7-2C05-4AF0-961F-E73FCED50705}" type="sibTrans" cxnId="{A13AC008-8122-471C-8AED-D0A18812F402}">
      <dgm:prSet/>
      <dgm:spPr/>
      <dgm:t>
        <a:bodyPr/>
        <a:lstStyle/>
        <a:p>
          <a:endParaRPr lang="it-IT"/>
        </a:p>
      </dgm:t>
    </dgm:pt>
    <dgm:pt modelId="{9B4EA6C3-443E-4802-A074-B1E3A87038A0}">
      <dgm:prSet phldrT="[Testo]"/>
      <dgm:spPr/>
      <dgm:t>
        <a:bodyPr/>
        <a:lstStyle/>
        <a:p>
          <a:r>
            <a:rPr lang="it-IT" dirty="0" err="1" smtClean="0"/>
            <a:t>Cloud</a:t>
          </a:r>
          <a:endParaRPr lang="it-IT" dirty="0"/>
        </a:p>
      </dgm:t>
    </dgm:pt>
    <dgm:pt modelId="{A8007B8D-16A8-46FE-A4EE-AEA22B856AA1}" type="parTrans" cxnId="{BE4A33B4-AFA4-4DBE-A0FB-09E95730ADBA}">
      <dgm:prSet/>
      <dgm:spPr/>
      <dgm:t>
        <a:bodyPr/>
        <a:lstStyle/>
        <a:p>
          <a:endParaRPr lang="it-IT"/>
        </a:p>
      </dgm:t>
    </dgm:pt>
    <dgm:pt modelId="{3C357311-0B40-4E42-8A58-83773685FAAC}" type="sibTrans" cxnId="{BE4A33B4-AFA4-4DBE-A0FB-09E95730ADBA}">
      <dgm:prSet/>
      <dgm:spPr/>
      <dgm:t>
        <a:bodyPr/>
        <a:lstStyle/>
        <a:p>
          <a:endParaRPr lang="it-IT"/>
        </a:p>
      </dgm:t>
    </dgm:pt>
    <dgm:pt modelId="{B59ECA70-BB46-432F-901A-335553219A97}">
      <dgm:prSet phldrT="[Testo]"/>
      <dgm:spPr/>
      <dgm:t>
        <a:bodyPr/>
        <a:lstStyle/>
        <a:p>
          <a:r>
            <a:rPr lang="it-IT" dirty="0" smtClean="0"/>
            <a:t>Larga banda</a:t>
          </a:r>
          <a:endParaRPr lang="it-IT" dirty="0"/>
        </a:p>
      </dgm:t>
    </dgm:pt>
    <dgm:pt modelId="{6C7F7DDD-F517-4A0B-A69D-77854FA9F9AF}" type="parTrans" cxnId="{CD53CA9E-8ED2-4C5A-AE25-6FCA4BDD30BC}">
      <dgm:prSet/>
      <dgm:spPr/>
      <dgm:t>
        <a:bodyPr/>
        <a:lstStyle/>
        <a:p>
          <a:endParaRPr lang="it-IT"/>
        </a:p>
      </dgm:t>
    </dgm:pt>
    <dgm:pt modelId="{88671F13-AE9F-447B-BE0B-0B6FA65E1687}" type="sibTrans" cxnId="{CD53CA9E-8ED2-4C5A-AE25-6FCA4BDD30BC}">
      <dgm:prSet/>
      <dgm:spPr/>
      <dgm:t>
        <a:bodyPr/>
        <a:lstStyle/>
        <a:p>
          <a:endParaRPr lang="it-IT"/>
        </a:p>
      </dgm:t>
    </dgm:pt>
    <dgm:pt modelId="{037FF2A0-6CBE-4626-85EA-B6D49680EEC3}" type="pres">
      <dgm:prSet presAssocID="{D4ABA904-EB5F-4118-875A-32E192156C00}" presName="Name0" presStyleCnt="0">
        <dgm:presLayoutVars>
          <dgm:dir/>
          <dgm:resizeHandles val="exact"/>
        </dgm:presLayoutVars>
      </dgm:prSet>
      <dgm:spPr/>
    </dgm:pt>
    <dgm:pt modelId="{B4481641-7C6F-4728-AB49-F2EB532865E4}" type="pres">
      <dgm:prSet presAssocID="{8DD0CBB0-1D1E-4A22-8CF5-4EA27B073960}" presName="composite" presStyleCnt="0"/>
      <dgm:spPr/>
    </dgm:pt>
    <dgm:pt modelId="{78EF3CD5-783B-48CE-80DC-4AD6075DBF26}" type="pres">
      <dgm:prSet presAssocID="{8DD0CBB0-1D1E-4A22-8CF5-4EA27B073960}" presName="rect1" presStyleLbl="trAlignAcc1" presStyleIdx="0" presStyleCnt="3">
        <dgm:presLayoutVars>
          <dgm:bulletEnabled val="1"/>
        </dgm:presLayoutVars>
      </dgm:prSet>
      <dgm:spPr/>
    </dgm:pt>
    <dgm:pt modelId="{7D29A56B-32B0-410F-B841-6DC9ED8CD4B9}" type="pres">
      <dgm:prSet presAssocID="{8DD0CBB0-1D1E-4A22-8CF5-4EA27B073960}" presName="rect2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84000" r="-184000"/>
          </a:stretch>
        </a:blipFill>
      </dgm:spPr>
    </dgm:pt>
    <dgm:pt modelId="{2B3D1B3C-1A1C-4E22-85A7-1D4A32CD8FA3}" type="pres">
      <dgm:prSet presAssocID="{B6A0BBC7-2C05-4AF0-961F-E73FCED50705}" presName="sibTrans" presStyleCnt="0"/>
      <dgm:spPr/>
    </dgm:pt>
    <dgm:pt modelId="{CED56662-BA98-4AF5-9C46-2EFEF56070D8}" type="pres">
      <dgm:prSet presAssocID="{9B4EA6C3-443E-4802-A074-B1E3A87038A0}" presName="composite" presStyleCnt="0"/>
      <dgm:spPr/>
    </dgm:pt>
    <dgm:pt modelId="{845BD63A-94D3-443F-BB3B-799B4B61DA6D}" type="pres">
      <dgm:prSet presAssocID="{9B4EA6C3-443E-4802-A074-B1E3A87038A0}" presName="rect1" presStyleLbl="tr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8F08E0DD-205A-444D-99FC-70A0215286A8}" type="pres">
      <dgm:prSet presAssocID="{9B4EA6C3-443E-4802-A074-B1E3A87038A0}" presName="rect2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5000" r="-65000"/>
          </a:stretch>
        </a:blipFill>
      </dgm:spPr>
    </dgm:pt>
    <dgm:pt modelId="{88DA7745-7E19-4A3E-96C4-D2D38F2D9956}" type="pres">
      <dgm:prSet presAssocID="{3C357311-0B40-4E42-8A58-83773685FAAC}" presName="sibTrans" presStyleCnt="0"/>
      <dgm:spPr/>
    </dgm:pt>
    <dgm:pt modelId="{F5FE24F3-B81C-4806-981D-943ABEF4BD73}" type="pres">
      <dgm:prSet presAssocID="{B59ECA70-BB46-432F-901A-335553219A97}" presName="composite" presStyleCnt="0"/>
      <dgm:spPr/>
    </dgm:pt>
    <dgm:pt modelId="{7C051F3E-DD9F-4A61-BA4B-F86D47B247FA}" type="pres">
      <dgm:prSet presAssocID="{B59ECA70-BB46-432F-901A-335553219A97}" presName="rect1" presStyleLbl="trAlignAcc1" presStyleIdx="2" presStyleCnt="3">
        <dgm:presLayoutVars>
          <dgm:bulletEnabled val="1"/>
        </dgm:presLayoutVars>
      </dgm:prSet>
      <dgm:spPr/>
    </dgm:pt>
    <dgm:pt modelId="{835388C0-7348-4928-9162-06BABF05A80A}" type="pres">
      <dgm:prSet presAssocID="{B59ECA70-BB46-432F-901A-335553219A97}" presName="rect2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</dgm:spPr>
    </dgm:pt>
  </dgm:ptLst>
  <dgm:cxnLst>
    <dgm:cxn modelId="{2579E5E6-3E18-48E7-B3C2-D203FD01B8ED}" type="presOf" srcId="{D4ABA904-EB5F-4118-875A-32E192156C00}" destId="{037FF2A0-6CBE-4626-85EA-B6D49680EEC3}" srcOrd="0" destOrd="0" presId="urn:microsoft.com/office/officeart/2008/layout/PictureStrips"/>
    <dgm:cxn modelId="{BE4A33B4-AFA4-4DBE-A0FB-09E95730ADBA}" srcId="{D4ABA904-EB5F-4118-875A-32E192156C00}" destId="{9B4EA6C3-443E-4802-A074-B1E3A87038A0}" srcOrd="1" destOrd="0" parTransId="{A8007B8D-16A8-46FE-A4EE-AEA22B856AA1}" sibTransId="{3C357311-0B40-4E42-8A58-83773685FAAC}"/>
    <dgm:cxn modelId="{1DC06C52-0BBE-47F0-88C7-6B721F302B74}" type="presOf" srcId="{B59ECA70-BB46-432F-901A-335553219A97}" destId="{7C051F3E-DD9F-4A61-BA4B-F86D47B247FA}" srcOrd="0" destOrd="0" presId="urn:microsoft.com/office/officeart/2008/layout/PictureStrips"/>
    <dgm:cxn modelId="{795F079C-EA34-4B0E-BCD2-D5BC0205D840}" type="presOf" srcId="{9B4EA6C3-443E-4802-A074-B1E3A87038A0}" destId="{845BD63A-94D3-443F-BB3B-799B4B61DA6D}" srcOrd="0" destOrd="0" presId="urn:microsoft.com/office/officeart/2008/layout/PictureStrips"/>
    <dgm:cxn modelId="{A13AC008-8122-471C-8AED-D0A18812F402}" srcId="{D4ABA904-EB5F-4118-875A-32E192156C00}" destId="{8DD0CBB0-1D1E-4A22-8CF5-4EA27B073960}" srcOrd="0" destOrd="0" parTransId="{366A0269-E479-49B6-9D35-E5A8D3F6094C}" sibTransId="{B6A0BBC7-2C05-4AF0-961F-E73FCED50705}"/>
    <dgm:cxn modelId="{CD53CA9E-8ED2-4C5A-AE25-6FCA4BDD30BC}" srcId="{D4ABA904-EB5F-4118-875A-32E192156C00}" destId="{B59ECA70-BB46-432F-901A-335553219A97}" srcOrd="2" destOrd="0" parTransId="{6C7F7DDD-F517-4A0B-A69D-77854FA9F9AF}" sibTransId="{88671F13-AE9F-447B-BE0B-0B6FA65E1687}"/>
    <dgm:cxn modelId="{B18E8072-EB39-42B7-B5D4-1FFBDF87AD4A}" type="presOf" srcId="{8DD0CBB0-1D1E-4A22-8CF5-4EA27B073960}" destId="{78EF3CD5-783B-48CE-80DC-4AD6075DBF26}" srcOrd="0" destOrd="0" presId="urn:microsoft.com/office/officeart/2008/layout/PictureStrips"/>
    <dgm:cxn modelId="{1BD15380-0CEA-46C4-B058-47A841288B0E}" type="presParOf" srcId="{037FF2A0-6CBE-4626-85EA-B6D49680EEC3}" destId="{B4481641-7C6F-4728-AB49-F2EB532865E4}" srcOrd="0" destOrd="0" presId="urn:microsoft.com/office/officeart/2008/layout/PictureStrips"/>
    <dgm:cxn modelId="{B0B85036-F1F2-45AA-A190-3E7AA6D39F54}" type="presParOf" srcId="{B4481641-7C6F-4728-AB49-F2EB532865E4}" destId="{78EF3CD5-783B-48CE-80DC-4AD6075DBF26}" srcOrd="0" destOrd="0" presId="urn:microsoft.com/office/officeart/2008/layout/PictureStrips"/>
    <dgm:cxn modelId="{7E588B48-EDE9-4110-9CFE-DCA6F7CA6D70}" type="presParOf" srcId="{B4481641-7C6F-4728-AB49-F2EB532865E4}" destId="{7D29A56B-32B0-410F-B841-6DC9ED8CD4B9}" srcOrd="1" destOrd="0" presId="urn:microsoft.com/office/officeart/2008/layout/PictureStrips"/>
    <dgm:cxn modelId="{64DCF306-CB08-40DC-93F6-3C6BAC4BF69A}" type="presParOf" srcId="{037FF2A0-6CBE-4626-85EA-B6D49680EEC3}" destId="{2B3D1B3C-1A1C-4E22-85A7-1D4A32CD8FA3}" srcOrd="1" destOrd="0" presId="urn:microsoft.com/office/officeart/2008/layout/PictureStrips"/>
    <dgm:cxn modelId="{5D841E39-8433-4BF8-83C3-6A34EB44B0BE}" type="presParOf" srcId="{037FF2A0-6CBE-4626-85EA-B6D49680EEC3}" destId="{CED56662-BA98-4AF5-9C46-2EFEF56070D8}" srcOrd="2" destOrd="0" presId="urn:microsoft.com/office/officeart/2008/layout/PictureStrips"/>
    <dgm:cxn modelId="{9D8BE00E-595A-43C4-9C4E-F70567F9FC83}" type="presParOf" srcId="{CED56662-BA98-4AF5-9C46-2EFEF56070D8}" destId="{845BD63A-94D3-443F-BB3B-799B4B61DA6D}" srcOrd="0" destOrd="0" presId="urn:microsoft.com/office/officeart/2008/layout/PictureStrips"/>
    <dgm:cxn modelId="{E4A8B183-67BA-421F-AEB1-DD2D2297FA33}" type="presParOf" srcId="{CED56662-BA98-4AF5-9C46-2EFEF56070D8}" destId="{8F08E0DD-205A-444D-99FC-70A0215286A8}" srcOrd="1" destOrd="0" presId="urn:microsoft.com/office/officeart/2008/layout/PictureStrips"/>
    <dgm:cxn modelId="{9D93F4FA-C106-46B9-ADAE-C1FB4BA2D8E5}" type="presParOf" srcId="{037FF2A0-6CBE-4626-85EA-B6D49680EEC3}" destId="{88DA7745-7E19-4A3E-96C4-D2D38F2D9956}" srcOrd="3" destOrd="0" presId="urn:microsoft.com/office/officeart/2008/layout/PictureStrips"/>
    <dgm:cxn modelId="{BA302991-A104-4C2E-871C-F0BF10F97ED6}" type="presParOf" srcId="{037FF2A0-6CBE-4626-85EA-B6D49680EEC3}" destId="{F5FE24F3-B81C-4806-981D-943ABEF4BD73}" srcOrd="4" destOrd="0" presId="urn:microsoft.com/office/officeart/2008/layout/PictureStrips"/>
    <dgm:cxn modelId="{1FA85995-5EE9-48FF-905C-6A9A15A32BAC}" type="presParOf" srcId="{F5FE24F3-B81C-4806-981D-943ABEF4BD73}" destId="{7C051F3E-DD9F-4A61-BA4B-F86D47B247FA}" srcOrd="0" destOrd="0" presId="urn:microsoft.com/office/officeart/2008/layout/PictureStrips"/>
    <dgm:cxn modelId="{1F64C64F-759D-4343-8A91-5B23FCE0451A}" type="presParOf" srcId="{F5FE24F3-B81C-4806-981D-943ABEF4BD73}" destId="{835388C0-7348-4928-9162-06BABF05A80A}" srcOrd="1" destOrd="0" presId="urn:microsoft.com/office/officeart/2008/layout/PictureStrips"/>
  </dgm:cxnLst>
  <dgm:bg>
    <a:blipFill>
      <a:blip xmlns:r="http://schemas.openxmlformats.org/officeDocument/2006/relationships" r:embed="rId4"/>
      <a:stretch>
        <a:fillRect/>
      </a:stretch>
    </a:blipFill>
  </dgm:bg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34F3AE-10EC-46DC-B034-24BC55B69EE3}">
      <dsp:nvSpPr>
        <dsp:cNvPr id="0" name=""/>
        <dsp:cNvSpPr/>
      </dsp:nvSpPr>
      <dsp:spPr>
        <a:xfrm rot="5400000">
          <a:off x="-149304" y="150351"/>
          <a:ext cx="995362" cy="696753"/>
        </a:xfrm>
        <a:prstGeom prst="chevron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900" kern="1200" dirty="0"/>
        </a:p>
      </dsp:txBody>
      <dsp:txXfrm rot="-5400000">
        <a:off x="1" y="349424"/>
        <a:ext cx="696753" cy="298609"/>
      </dsp:txXfrm>
    </dsp:sp>
    <dsp:sp modelId="{A6020B36-4773-47E1-8295-68444BDC2609}">
      <dsp:nvSpPr>
        <dsp:cNvPr id="0" name=""/>
        <dsp:cNvSpPr/>
      </dsp:nvSpPr>
      <dsp:spPr>
        <a:xfrm rot="5400000">
          <a:off x="2596647" y="-1898846"/>
          <a:ext cx="646985" cy="444677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900" kern="1200" dirty="0" smtClean="0"/>
            <a:t>Nuovo rapporto con il cliente</a:t>
          </a:r>
          <a:endParaRPr lang="it-IT" sz="1900" kern="1200" dirty="0"/>
        </a:p>
      </dsp:txBody>
      <dsp:txXfrm rot="-5400000">
        <a:off x="696754" y="32630"/>
        <a:ext cx="4415189" cy="583819"/>
      </dsp:txXfrm>
    </dsp:sp>
    <dsp:sp modelId="{BA5DAB17-CB43-4096-8C5C-FB32936C2B1C}">
      <dsp:nvSpPr>
        <dsp:cNvPr id="0" name=""/>
        <dsp:cNvSpPr/>
      </dsp:nvSpPr>
      <dsp:spPr>
        <a:xfrm rot="5400000">
          <a:off x="-149304" y="938556"/>
          <a:ext cx="995362" cy="696753"/>
        </a:xfrm>
        <a:prstGeom prst="chevron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900" kern="1200" dirty="0"/>
        </a:p>
      </dsp:txBody>
      <dsp:txXfrm rot="-5400000">
        <a:off x="1" y="1137629"/>
        <a:ext cx="696753" cy="298609"/>
      </dsp:txXfrm>
    </dsp:sp>
    <dsp:sp modelId="{C6D715A6-CB4E-4699-840A-85B7F38DE80E}">
      <dsp:nvSpPr>
        <dsp:cNvPr id="0" name=""/>
        <dsp:cNvSpPr/>
      </dsp:nvSpPr>
      <dsp:spPr>
        <a:xfrm rot="5400000">
          <a:off x="2596647" y="-1110641"/>
          <a:ext cx="646985" cy="444677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900" kern="1200" dirty="0" smtClean="0"/>
            <a:t>Nuovi prodotti</a:t>
          </a:r>
          <a:endParaRPr lang="it-IT" sz="1900" kern="1200" dirty="0"/>
        </a:p>
      </dsp:txBody>
      <dsp:txXfrm rot="-5400000">
        <a:off x="696754" y="820835"/>
        <a:ext cx="4415189" cy="583819"/>
      </dsp:txXfrm>
    </dsp:sp>
    <dsp:sp modelId="{7721A6D6-BF3B-46FC-B9CF-52E759E992A0}">
      <dsp:nvSpPr>
        <dsp:cNvPr id="0" name=""/>
        <dsp:cNvSpPr/>
      </dsp:nvSpPr>
      <dsp:spPr>
        <a:xfrm rot="5400000">
          <a:off x="-149304" y="1726761"/>
          <a:ext cx="995362" cy="696753"/>
        </a:xfrm>
        <a:prstGeom prst="chevron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900" kern="1200" dirty="0"/>
        </a:p>
      </dsp:txBody>
      <dsp:txXfrm rot="-5400000">
        <a:off x="1" y="1925834"/>
        <a:ext cx="696753" cy="298609"/>
      </dsp:txXfrm>
    </dsp:sp>
    <dsp:sp modelId="{D32994C8-9468-4C63-B0A7-7919362FDACE}">
      <dsp:nvSpPr>
        <dsp:cNvPr id="0" name=""/>
        <dsp:cNvSpPr/>
      </dsp:nvSpPr>
      <dsp:spPr>
        <a:xfrm rot="5400000">
          <a:off x="2596647" y="-322435"/>
          <a:ext cx="646985" cy="444677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5128" tIns="12065" rIns="12065" bIns="12065" numCol="1" spcCol="1270" anchor="ctr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900" kern="1200" dirty="0" smtClean="0"/>
            <a:t>Nuova interazione con i </a:t>
          </a:r>
          <a:r>
            <a:rPr lang="it-IT" sz="1900" kern="1200" dirty="0" smtClean="0"/>
            <a:t>fornitori e con il capitale umano proprio</a:t>
          </a:r>
          <a:endParaRPr lang="it-IT" sz="1900" kern="1200" dirty="0"/>
        </a:p>
      </dsp:txBody>
      <dsp:txXfrm rot="-5400000">
        <a:off x="696754" y="1609041"/>
        <a:ext cx="4415189" cy="58381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070D53-A441-41BB-84FC-6372F7584659}">
      <dsp:nvSpPr>
        <dsp:cNvPr id="0" name=""/>
        <dsp:cNvSpPr/>
      </dsp:nvSpPr>
      <dsp:spPr>
        <a:xfrm>
          <a:off x="1411727" y="346340"/>
          <a:ext cx="2311604" cy="2311604"/>
        </a:xfrm>
        <a:prstGeom prst="blockArc">
          <a:avLst>
            <a:gd name="adj1" fmla="val 10800000"/>
            <a:gd name="adj2" fmla="val 16200000"/>
            <a:gd name="adj3" fmla="val 4636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F685DC-B2A8-41FD-8484-B37EF29F6E79}">
      <dsp:nvSpPr>
        <dsp:cNvPr id="0" name=""/>
        <dsp:cNvSpPr/>
      </dsp:nvSpPr>
      <dsp:spPr>
        <a:xfrm>
          <a:off x="1411727" y="346340"/>
          <a:ext cx="2311604" cy="2311604"/>
        </a:xfrm>
        <a:prstGeom prst="blockArc">
          <a:avLst>
            <a:gd name="adj1" fmla="val 5400000"/>
            <a:gd name="adj2" fmla="val 10800000"/>
            <a:gd name="adj3" fmla="val 4636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60E5BF-ACC1-4580-AD98-6C6DDEA61ECB}">
      <dsp:nvSpPr>
        <dsp:cNvPr id="0" name=""/>
        <dsp:cNvSpPr/>
      </dsp:nvSpPr>
      <dsp:spPr>
        <a:xfrm>
          <a:off x="1411727" y="346340"/>
          <a:ext cx="2311604" cy="2311604"/>
        </a:xfrm>
        <a:prstGeom prst="blockArc">
          <a:avLst>
            <a:gd name="adj1" fmla="val 0"/>
            <a:gd name="adj2" fmla="val 5400000"/>
            <a:gd name="adj3" fmla="val 4636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623D6F-EB29-483E-A1A2-BB68D8B15500}">
      <dsp:nvSpPr>
        <dsp:cNvPr id="0" name=""/>
        <dsp:cNvSpPr/>
      </dsp:nvSpPr>
      <dsp:spPr>
        <a:xfrm>
          <a:off x="1411727" y="346340"/>
          <a:ext cx="2311604" cy="2311604"/>
        </a:xfrm>
        <a:prstGeom prst="blockArc">
          <a:avLst>
            <a:gd name="adj1" fmla="val 16200000"/>
            <a:gd name="adj2" fmla="val 0"/>
            <a:gd name="adj3" fmla="val 4636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83C0B0-C4A5-47B6-AA3A-C35D43492EAC}">
      <dsp:nvSpPr>
        <dsp:cNvPr id="0" name=""/>
        <dsp:cNvSpPr/>
      </dsp:nvSpPr>
      <dsp:spPr>
        <a:xfrm>
          <a:off x="1388606" y="700658"/>
          <a:ext cx="2357846" cy="1753261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6500" kern="1200" dirty="0"/>
        </a:p>
      </dsp:txBody>
      <dsp:txXfrm>
        <a:off x="1733905" y="957417"/>
        <a:ext cx="1667248" cy="1239743"/>
      </dsp:txXfrm>
    </dsp:sp>
    <dsp:sp modelId="{8DABC641-4AA8-4AA5-A012-F41703E6992A}">
      <dsp:nvSpPr>
        <dsp:cNvPr id="0" name=""/>
        <dsp:cNvSpPr/>
      </dsp:nvSpPr>
      <dsp:spPr>
        <a:xfrm>
          <a:off x="2195438" y="1039"/>
          <a:ext cx="744182" cy="744182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3100" kern="1200" dirty="0"/>
        </a:p>
      </dsp:txBody>
      <dsp:txXfrm>
        <a:off x="2304421" y="110022"/>
        <a:ext cx="526216" cy="526216"/>
      </dsp:txXfrm>
    </dsp:sp>
    <dsp:sp modelId="{9DC66695-B4BD-4F30-8A4D-C28F27DEC808}">
      <dsp:nvSpPr>
        <dsp:cNvPr id="0" name=""/>
        <dsp:cNvSpPr/>
      </dsp:nvSpPr>
      <dsp:spPr>
        <a:xfrm>
          <a:off x="3324449" y="1130051"/>
          <a:ext cx="744182" cy="744182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3100" kern="1200" dirty="0"/>
        </a:p>
      </dsp:txBody>
      <dsp:txXfrm>
        <a:off x="3433432" y="1239034"/>
        <a:ext cx="526216" cy="526216"/>
      </dsp:txXfrm>
    </dsp:sp>
    <dsp:sp modelId="{9AD56C7C-7C77-4EC8-BF84-0BE1A3C96444}">
      <dsp:nvSpPr>
        <dsp:cNvPr id="0" name=""/>
        <dsp:cNvSpPr/>
      </dsp:nvSpPr>
      <dsp:spPr>
        <a:xfrm>
          <a:off x="2195438" y="2259062"/>
          <a:ext cx="744182" cy="744182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3100" kern="1200" dirty="0"/>
        </a:p>
      </dsp:txBody>
      <dsp:txXfrm>
        <a:off x="2304421" y="2368045"/>
        <a:ext cx="526216" cy="526216"/>
      </dsp:txXfrm>
    </dsp:sp>
    <dsp:sp modelId="{466D6553-CC8D-438C-9CC5-EC997E4268D1}">
      <dsp:nvSpPr>
        <dsp:cNvPr id="0" name=""/>
        <dsp:cNvSpPr/>
      </dsp:nvSpPr>
      <dsp:spPr>
        <a:xfrm>
          <a:off x="1066426" y="1130051"/>
          <a:ext cx="744182" cy="744182"/>
        </a:xfrm>
        <a:prstGeom prst="ellipse">
          <a:avLst/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9370" tIns="39370" rIns="39370" bIns="3937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3100" kern="1200" dirty="0"/>
        </a:p>
      </dsp:txBody>
      <dsp:txXfrm>
        <a:off x="1175409" y="1239034"/>
        <a:ext cx="526216" cy="52621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EF3CD5-783B-48CE-80DC-4AD6075DBF26}">
      <dsp:nvSpPr>
        <dsp:cNvPr id="0" name=""/>
        <dsp:cNvSpPr/>
      </dsp:nvSpPr>
      <dsp:spPr>
        <a:xfrm>
          <a:off x="253626" y="406426"/>
          <a:ext cx="3084092" cy="9637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280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600" kern="1200" dirty="0" smtClean="0"/>
            <a:t>Capitale umano</a:t>
          </a:r>
          <a:endParaRPr lang="it-IT" sz="2600" kern="1200" dirty="0"/>
        </a:p>
      </dsp:txBody>
      <dsp:txXfrm>
        <a:off x="253626" y="406426"/>
        <a:ext cx="3084092" cy="963778"/>
      </dsp:txXfrm>
    </dsp:sp>
    <dsp:sp modelId="{7D29A56B-32B0-410F-B841-6DC9ED8CD4B9}">
      <dsp:nvSpPr>
        <dsp:cNvPr id="0" name=""/>
        <dsp:cNvSpPr/>
      </dsp:nvSpPr>
      <dsp:spPr>
        <a:xfrm>
          <a:off x="125122" y="267213"/>
          <a:ext cx="674645" cy="101196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84000" r="-18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5BD63A-94D3-443F-BB3B-799B4B61DA6D}">
      <dsp:nvSpPr>
        <dsp:cNvPr id="0" name=""/>
        <dsp:cNvSpPr/>
      </dsp:nvSpPr>
      <dsp:spPr>
        <a:xfrm>
          <a:off x="253626" y="1619716"/>
          <a:ext cx="3084092" cy="9637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280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600" kern="1200" dirty="0" err="1" smtClean="0"/>
            <a:t>Cloud</a:t>
          </a:r>
          <a:endParaRPr lang="it-IT" sz="2600" kern="1200" dirty="0"/>
        </a:p>
      </dsp:txBody>
      <dsp:txXfrm>
        <a:off x="253626" y="1619716"/>
        <a:ext cx="3084092" cy="963778"/>
      </dsp:txXfrm>
    </dsp:sp>
    <dsp:sp modelId="{8F08E0DD-205A-444D-99FC-70A0215286A8}">
      <dsp:nvSpPr>
        <dsp:cNvPr id="0" name=""/>
        <dsp:cNvSpPr/>
      </dsp:nvSpPr>
      <dsp:spPr>
        <a:xfrm>
          <a:off x="125122" y="1480504"/>
          <a:ext cx="674645" cy="1011967"/>
        </a:xfrm>
        <a:prstGeom prst="rect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5000" r="-6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051F3E-DD9F-4A61-BA4B-F86D47B247FA}">
      <dsp:nvSpPr>
        <dsp:cNvPr id="0" name=""/>
        <dsp:cNvSpPr/>
      </dsp:nvSpPr>
      <dsp:spPr>
        <a:xfrm>
          <a:off x="253626" y="2833007"/>
          <a:ext cx="3084092" cy="963778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280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600" kern="1200" dirty="0" smtClean="0"/>
            <a:t>Larga banda</a:t>
          </a:r>
          <a:endParaRPr lang="it-IT" sz="2600" kern="1200" dirty="0"/>
        </a:p>
      </dsp:txBody>
      <dsp:txXfrm>
        <a:off x="253626" y="2833007"/>
        <a:ext cx="3084092" cy="963778"/>
      </dsp:txXfrm>
    </dsp:sp>
    <dsp:sp modelId="{835388C0-7348-4928-9162-06BABF05A80A}">
      <dsp:nvSpPr>
        <dsp:cNvPr id="0" name=""/>
        <dsp:cNvSpPr/>
      </dsp:nvSpPr>
      <dsp:spPr>
        <a:xfrm>
          <a:off x="125122" y="2693794"/>
          <a:ext cx="674645" cy="101196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A0ADBC-5E0A-4C37-B518-4CB101AA2B1F}" type="datetimeFigureOut">
              <a:rPr lang="it-IT" smtClean="0"/>
              <a:t>19/12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97F2BC-7676-4326-8430-6CB8DDF943D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536257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2987827" y="1666928"/>
            <a:ext cx="5982755" cy="21393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="1" i="0" baseline="0">
                <a:solidFill>
                  <a:srgbClr val="FFFFFF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8" name="Titolo 12"/>
          <p:cNvSpPr>
            <a:spLocks noGrp="1"/>
          </p:cNvSpPr>
          <p:nvPr>
            <p:ph type="title" hasCustomPrompt="1"/>
          </p:nvPr>
        </p:nvSpPr>
        <p:spPr>
          <a:xfrm>
            <a:off x="2987825" y="2996952"/>
            <a:ext cx="5982754" cy="4824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rgbClr val="FFFFFF"/>
                </a:solidFill>
                <a:latin typeface="TIM Sans" panose="02020503040602060503" pitchFamily="18" charset="0"/>
              </a:defRPr>
            </a:lvl1pPr>
          </a:lstStyle>
          <a:p>
            <a:r>
              <a:rPr lang="it-IT" dirty="0" smtClean="0"/>
              <a:t>Fare clic per modificare</a:t>
            </a:r>
            <a:br>
              <a:rPr lang="it-IT" dirty="0" smtClean="0"/>
            </a:br>
            <a:r>
              <a:rPr lang="it-IT" dirty="0" smtClean="0"/>
              <a:t>lo stile del titolo</a:t>
            </a:r>
          </a:p>
        </p:txBody>
      </p:sp>
      <p:sp>
        <p:nvSpPr>
          <p:cNvPr id="19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2987827" y="3550339"/>
            <a:ext cx="5982755" cy="25203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400" b="0" i="0" baseline="0">
                <a:solidFill>
                  <a:srgbClr val="FFFFFF"/>
                </a:solidFill>
                <a:latin typeface="TIM Sans Medium" panose="02020503040602060503" pitchFamily="18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endParaRPr lang="it-IT" dirty="0" smtClean="0"/>
          </a:p>
        </p:txBody>
      </p:sp>
      <p:sp>
        <p:nvSpPr>
          <p:cNvPr id="20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2987827" y="1895157"/>
            <a:ext cx="5982755" cy="28803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1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2987827" y="2168897"/>
            <a:ext cx="5982755" cy="37041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0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2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2987824" y="4319528"/>
            <a:ext cx="4391960" cy="179997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10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3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2987824" y="4139531"/>
            <a:ext cx="4391960" cy="179997"/>
          </a:xfrm>
          <a:prstGeom prst="rect">
            <a:avLst/>
          </a:prstGeom>
        </p:spPr>
        <p:txBody>
          <a:bodyPr vert="horz" lIns="0" tIns="0" bIns="0" anchor="ctr" anchorCtr="0"/>
          <a:lstStyle>
            <a:lvl1pPr marL="0" indent="0">
              <a:buNone/>
              <a:defRPr sz="1000" baseline="0">
                <a:solidFill>
                  <a:schemeClr val="accent6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46549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65769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908008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905360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834316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418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Aft>
                <a:spcPts val="526"/>
              </a:spcAft>
              <a:buSzPct val="100000"/>
              <a:buFont typeface="Webdings" pitchFamily="18" charset="2"/>
              <a:buChar char="4"/>
              <a:defRPr lang="it-IT" sz="1900" dirty="0" smtClean="0"/>
            </a:lvl1pPr>
            <a:lvl2pPr marL="695476" indent="-250372">
              <a:lnSpc>
                <a:spcPct val="100000"/>
              </a:lnSpc>
              <a:spcAft>
                <a:spcPts val="526"/>
              </a:spcAft>
              <a:buSzPct val="100000"/>
              <a:buFont typeface="Webdings" pitchFamily="18" charset="2"/>
              <a:buChar char="4"/>
              <a:defRPr lang="it-IT" sz="1600" dirty="0" smtClean="0"/>
            </a:lvl2pPr>
            <a:lvl3pPr marL="1143364" indent="-250372">
              <a:lnSpc>
                <a:spcPct val="100000"/>
              </a:lnSpc>
              <a:spcAft>
                <a:spcPts val="526"/>
              </a:spcAft>
              <a:buSzPct val="100000"/>
              <a:buFont typeface="Arial" pitchFamily="34" charset="0"/>
              <a:buChar char="–"/>
              <a:defRPr lang="it-IT" dirty="0" smtClean="0"/>
            </a:lvl3pPr>
            <a:lvl4pPr marL="1588468" indent="-250372">
              <a:lnSpc>
                <a:spcPct val="100000"/>
              </a:lnSpc>
              <a:spcAft>
                <a:spcPts val="526"/>
              </a:spcAft>
              <a:buSzPct val="100000"/>
              <a:buFont typeface="Arial" pitchFamily="34" charset="0"/>
              <a:buChar char="–"/>
              <a:defRPr lang="it-IT" dirty="0"/>
            </a:lvl4pPr>
            <a:lvl5pPr marL="1842112" indent="0">
              <a:buNone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4736263" y="6433245"/>
            <a:ext cx="3961133" cy="19581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srgbClr val="000000">
                    <a:lumMod val="50000"/>
                    <a:lumOff val="50000"/>
                  </a:srgbClr>
                </a:solidFill>
              </a:rPr>
              <a:t>Titolo della relazione, Nome del Relatore, Nome Azienda/Struttura</a:t>
            </a:r>
          </a:p>
        </p:txBody>
      </p:sp>
      <p:sp>
        <p:nvSpPr>
          <p:cNvPr id="5" name="Segnaposto data 1"/>
          <p:cNvSpPr>
            <a:spLocks noGrp="1"/>
          </p:cNvSpPr>
          <p:nvPr>
            <p:ph type="dt" sz="half" idx="11"/>
          </p:nvPr>
        </p:nvSpPr>
        <p:spPr>
          <a:xfrm>
            <a:off x="6563427" y="6629068"/>
            <a:ext cx="2133962" cy="18286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srgbClr val="000000"/>
                </a:solidFill>
              </a:rPr>
              <a:t>Luogo e data</a:t>
            </a:r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6604151" y="6237429"/>
            <a:ext cx="2093238" cy="19581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F64865-C59A-48C8-A069-D34955484C25}" type="slidenum">
              <a:rPr lang="it-IT" altLang="it-IT">
                <a:solidFill>
                  <a:srgbClr val="114986"/>
                </a:solidFill>
              </a:rPr>
              <a:pPr>
                <a:defRPr/>
              </a:pPr>
              <a:t>‹N›</a:t>
            </a:fld>
            <a:endParaRPr lang="it-IT" altLang="it-IT">
              <a:solidFill>
                <a:srgbClr val="1149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1231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62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118317" y="6323022"/>
            <a:ext cx="4267200" cy="211137"/>
          </a:xfrm>
          <a:prstGeom prst="rect">
            <a:avLst/>
          </a:prstGeom>
        </p:spPr>
        <p:txBody>
          <a:bodyPr/>
          <a:lstStyle/>
          <a:p>
            <a:fld id="{5F5E7633-7BA4-4624-9594-B5FCDF0E122A}" type="datetimeFigureOut">
              <a:rPr lang="it-IT" smtClean="0">
                <a:solidFill>
                  <a:srgbClr val="EB0028"/>
                </a:solidFill>
              </a:rPr>
              <a:pPr/>
              <a:t>19/12/2017</a:t>
            </a:fld>
            <a:endParaRPr lang="it-IT">
              <a:solidFill>
                <a:srgbClr val="EB0028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118317" y="6467515"/>
            <a:ext cx="4267200" cy="220663"/>
          </a:xfrm>
          <a:prstGeom prst="rect">
            <a:avLst/>
          </a:prstGeom>
        </p:spPr>
        <p:txBody>
          <a:bodyPr/>
          <a:lstStyle/>
          <a:p>
            <a:endParaRPr lang="it-IT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80"/>
            <a:ext cx="2133600" cy="365125"/>
          </a:xfrm>
          <a:prstGeom prst="rect">
            <a:avLst/>
          </a:prstGeom>
        </p:spPr>
        <p:txBody>
          <a:bodyPr/>
          <a:lstStyle/>
          <a:p>
            <a:fld id="{B87A79CE-529C-4F4A-9AD5-35E5EE766C03}" type="slidenum">
              <a:rPr lang="it-IT" smtClean="0">
                <a:solidFill>
                  <a:srgbClr val="000000"/>
                </a:solidFill>
              </a:rPr>
              <a:pPr/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358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 corpo picc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296164" y="360001"/>
            <a:ext cx="8460000" cy="355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noAutofit/>
          </a:bodyPr>
          <a:lstStyle>
            <a:lvl1pPr algn="l">
              <a:defRPr>
                <a:solidFill>
                  <a:schemeClr val="accent5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it-IT" dirty="0" smtClean="0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/>
          </p:nvPr>
        </p:nvSpPr>
        <p:spPr>
          <a:xfrm>
            <a:off x="237231" y="971203"/>
            <a:ext cx="8387992" cy="5400600"/>
          </a:xfrm>
        </p:spPr>
        <p:txBody>
          <a:bodyPr>
            <a:noAutofit/>
          </a:bodyPr>
          <a:lstStyle>
            <a:lvl1pPr marL="342900" indent="-342900" algn="l">
              <a:buClr>
                <a:schemeClr val="accent5"/>
              </a:buClr>
              <a:buSzPct val="100000"/>
              <a:buFont typeface="Webdings" pitchFamily="18" charset="2"/>
              <a:buChar char="4"/>
              <a:defRPr sz="1800"/>
            </a:lvl1pPr>
            <a:lvl2pPr marL="731838" indent="-285750" algn="l">
              <a:buClr>
                <a:schemeClr val="accent5"/>
              </a:buClr>
              <a:buSzPct val="100000"/>
              <a:buFont typeface="Webdings" pitchFamily="18" charset="2"/>
              <a:buChar char="4"/>
              <a:defRPr sz="1600"/>
            </a:lvl2pPr>
            <a:lvl3pPr marL="1179513" indent="-285750" algn="l">
              <a:buClr>
                <a:schemeClr val="accent5"/>
              </a:buClr>
              <a:buSzPct val="100000"/>
              <a:buFont typeface="Arial" pitchFamily="34" charset="0"/>
              <a:buChar char="–"/>
              <a:defRPr sz="1200"/>
            </a:lvl3pPr>
            <a:lvl4pPr marL="1339850" marR="0" indent="31750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FF0000"/>
              </a:buClr>
              <a:buSzPct val="50000"/>
              <a:buFont typeface="Franklin Gothic Demi" charset="0"/>
              <a:buNone/>
              <a:tabLst/>
              <a:def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D3764"/>
                </a:solidFill>
                <a:effectLst/>
                <a:uLnTx/>
                <a:uFillTx/>
                <a:latin typeface="Arial" charset="0"/>
                <a:cs typeface="ＭＳ Ｐゴシック" charset="0"/>
              </a:defRPr>
            </a:lvl4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4" name="Segnaposto data 4"/>
          <p:cNvSpPr>
            <a:spLocks noGrp="1"/>
          </p:cNvSpPr>
          <p:nvPr>
            <p:ph type="dt" sz="half" idx="11"/>
          </p:nvPr>
        </p:nvSpPr>
        <p:spPr>
          <a:xfrm>
            <a:off x="2843213" y="6303964"/>
            <a:ext cx="5689600" cy="365125"/>
          </a:xfrm>
          <a:prstGeom prst="rect">
            <a:avLst/>
          </a:prstGeom>
        </p:spPr>
        <p:txBody>
          <a:bodyPr/>
          <a:lstStyle>
            <a:lvl1pPr algn="r" defTabSz="914400" fontAlgn="auto">
              <a:spcBef>
                <a:spcPts val="0"/>
              </a:spcBef>
              <a:spcAft>
                <a:spcPts val="0"/>
              </a:spcAft>
              <a:defRPr sz="900" b="1" i="0">
                <a:solidFill>
                  <a:srgbClr val="E0001A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it-IT"/>
              <a:t>Sanità pubblica: analisi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2"/>
          </p:nvPr>
        </p:nvSpPr>
        <p:spPr>
          <a:xfrm>
            <a:off x="2843213" y="6448426"/>
            <a:ext cx="5689600" cy="365125"/>
          </a:xfrm>
          <a:prstGeom prst="rect">
            <a:avLst/>
          </a:prstGeom>
        </p:spPr>
        <p:txBody>
          <a:bodyPr/>
          <a:lstStyle>
            <a:lvl1pPr algn="r" defTabSz="914400"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838383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it-IT"/>
              <a:t>Luigi Zampetti, B.M.SD</a:t>
            </a:r>
          </a:p>
        </p:txBody>
      </p:sp>
    </p:spTree>
    <p:extLst>
      <p:ext uri="{BB962C8B-B14F-4D97-AF65-F5344CB8AC3E}">
        <p14:creationId xmlns:p14="http://schemas.microsoft.com/office/powerpoint/2010/main" val="30276346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2987827" y="1666928"/>
            <a:ext cx="5982755" cy="21393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="1" i="0" baseline="0">
                <a:solidFill>
                  <a:srgbClr val="FFFFFF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8" name="Titolo 12"/>
          <p:cNvSpPr>
            <a:spLocks noGrp="1"/>
          </p:cNvSpPr>
          <p:nvPr>
            <p:ph type="title" hasCustomPrompt="1"/>
          </p:nvPr>
        </p:nvSpPr>
        <p:spPr>
          <a:xfrm>
            <a:off x="2987826" y="2996952"/>
            <a:ext cx="5982754" cy="4824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3429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aseline="0">
                <a:solidFill>
                  <a:srgbClr val="FFFFFF"/>
                </a:solidFill>
                <a:latin typeface="TIM Sans" panose="02020503040602060503" pitchFamily="18" charset="0"/>
              </a:defRPr>
            </a:lvl1pPr>
          </a:lstStyle>
          <a:p>
            <a:r>
              <a:rPr lang="it-IT" dirty="0" smtClean="0"/>
              <a:t>Fare clic per modificare</a:t>
            </a:r>
            <a:br>
              <a:rPr lang="it-IT" dirty="0" smtClean="0"/>
            </a:br>
            <a:r>
              <a:rPr lang="it-IT" dirty="0" smtClean="0"/>
              <a:t>lo stile del titolo</a:t>
            </a:r>
          </a:p>
        </p:txBody>
      </p:sp>
      <p:sp>
        <p:nvSpPr>
          <p:cNvPr id="19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2987827" y="3583588"/>
            <a:ext cx="5982755" cy="25203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100" b="0" i="0" baseline="0">
                <a:solidFill>
                  <a:srgbClr val="FFFFFF"/>
                </a:solidFill>
                <a:effectLst/>
                <a:latin typeface="+mj-lt"/>
                <a:cs typeface="Segoe UI Semilight" panose="020B0402040204020203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endParaRPr lang="it-IT" dirty="0" smtClean="0"/>
          </a:p>
        </p:txBody>
      </p:sp>
      <p:sp>
        <p:nvSpPr>
          <p:cNvPr id="20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2987827" y="1897493"/>
            <a:ext cx="5982755" cy="28803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1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2987827" y="2168899"/>
            <a:ext cx="5982755" cy="37041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8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2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2987824" y="4319533"/>
            <a:ext cx="5982756" cy="190415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8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3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2987824" y="4139535"/>
            <a:ext cx="5982756" cy="179997"/>
          </a:xfrm>
          <a:prstGeom prst="rect">
            <a:avLst/>
          </a:prstGeom>
        </p:spPr>
        <p:txBody>
          <a:bodyPr vert="horz" lIns="0" tIns="0" bIns="0" anchor="ctr" anchorCtr="0"/>
          <a:lstStyle>
            <a:lvl1pPr marL="0" indent="0">
              <a:buNone/>
              <a:defRPr sz="8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7138153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 Corpo Grande -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6" name="Segnaposto testo 7"/>
          <p:cNvSpPr>
            <a:spLocks noGrp="1"/>
          </p:cNvSpPr>
          <p:nvPr>
            <p:ph type="body" sz="quarter" idx="13"/>
          </p:nvPr>
        </p:nvSpPr>
        <p:spPr>
          <a:xfrm>
            <a:off x="295276" y="1362253"/>
            <a:ext cx="8449940" cy="4797249"/>
          </a:xfrm>
        </p:spPr>
        <p:txBody>
          <a:bodyPr/>
          <a:lstStyle>
            <a:lvl1pPr marL="214313" indent="-214313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+mn-lt"/>
              </a:defRPr>
            </a:lvl1pPr>
            <a:lvl2pPr marL="548879" indent="-214313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884635" indent="-214313">
              <a:buClr>
                <a:srgbClr val="EB0028"/>
              </a:buClr>
              <a:buSzPct val="100000"/>
              <a:buFont typeface="TIM Sans" panose="00000500000000000000" pitchFamily="50" charset="0"/>
              <a:buChar char="–"/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7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6323017"/>
            <a:ext cx="4267200" cy="211137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600">
                <a:solidFill>
                  <a:schemeClr val="accent2"/>
                </a:solidFill>
              </a:defRPr>
            </a:lvl1pPr>
          </a:lstStyle>
          <a:p>
            <a:pPr defTabSz="914296">
              <a:defRPr/>
            </a:pPr>
            <a:r>
              <a:rPr lang="it-IT" dirty="0" smtClean="0">
                <a:solidFill>
                  <a:srgbClr val="EB0028"/>
                </a:solidFill>
              </a:rPr>
              <a:t>Titolo della Relazione</a:t>
            </a:r>
            <a:endParaRPr lang="it-IT" dirty="0">
              <a:solidFill>
                <a:srgbClr val="EB0028"/>
              </a:solidFill>
            </a:endParaRPr>
          </a:p>
        </p:txBody>
      </p:sp>
      <p:sp>
        <p:nvSpPr>
          <p:cNvPr id="8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6467478"/>
            <a:ext cx="4267200" cy="220663"/>
          </a:xfrm>
          <a:prstGeom prst="rect">
            <a:avLst/>
          </a:prstGeom>
        </p:spPr>
        <p:txBody>
          <a:bodyPr lIns="68580" tIns="34290" rIns="68580" bIns="34290"/>
          <a:lstStyle>
            <a:lvl1pPr algn="r">
              <a:defRPr sz="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914296">
              <a:defRPr/>
            </a:pPr>
            <a:r>
              <a:rPr lang="it-IT" smtClean="0">
                <a:solidFill>
                  <a:prstClr val="white">
                    <a:lumMod val="50000"/>
                  </a:prstClr>
                </a:solidFill>
              </a:rPr>
              <a:t>Nome del Relatore, Nome Struttura</a:t>
            </a:r>
            <a:endParaRPr lang="it-IT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Segnaposto testo 7"/>
          <p:cNvSpPr>
            <a:spLocks noGrp="1"/>
          </p:cNvSpPr>
          <p:nvPr>
            <p:ph type="body" sz="quarter" idx="10"/>
          </p:nvPr>
        </p:nvSpPr>
        <p:spPr>
          <a:xfrm>
            <a:off x="309564" y="809075"/>
            <a:ext cx="8474397" cy="396999"/>
          </a:xfrm>
          <a:noFill/>
          <a:ln>
            <a:noFill/>
          </a:ln>
          <a:effectLst/>
          <a:extLst/>
        </p:spPr>
        <p:txBody>
          <a:bodyPr wrap="none">
            <a:noAutofit/>
          </a:bodyPr>
          <a:lstStyle>
            <a:lvl1pPr>
              <a:lnSpc>
                <a:spcPct val="50000"/>
              </a:lnSpc>
              <a:defRPr lang="it-IT" sz="1100" kern="1200" dirty="0">
                <a:solidFill>
                  <a:schemeClr val="accent1"/>
                </a:solidFill>
                <a:latin typeface="TIM Sans" panose="00000500000000000000" pitchFamily="50" charset="0"/>
                <a:ea typeface="+mj-ea"/>
                <a:cs typeface="TIM Sans" panose="00000500000000000000" pitchFamily="50" charset="0"/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8757857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3707906" y="1882953"/>
            <a:ext cx="5262675" cy="32197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="1" i="0" baseline="0">
                <a:solidFill>
                  <a:srgbClr val="FFFFFF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1" name="Titolo 12"/>
          <p:cNvSpPr>
            <a:spLocks noGrp="1"/>
          </p:cNvSpPr>
          <p:nvPr>
            <p:ph type="title" hasCustomPrompt="1"/>
          </p:nvPr>
        </p:nvSpPr>
        <p:spPr>
          <a:xfrm>
            <a:off x="3707906" y="2996952"/>
            <a:ext cx="5262675" cy="576096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rgbClr val="FFFFFF"/>
                </a:solidFill>
                <a:latin typeface="TIM Sans" panose="02020503040602060503" pitchFamily="18" charset="0"/>
              </a:defRPr>
            </a:lvl1pPr>
          </a:lstStyle>
          <a:p>
            <a:r>
              <a:rPr lang="it-IT" dirty="0" smtClean="0"/>
              <a:t>Fare clic per modificare</a:t>
            </a:r>
            <a:br>
              <a:rPr lang="it-IT" dirty="0" smtClean="0"/>
            </a:br>
            <a:r>
              <a:rPr lang="it-IT" dirty="0" smtClean="0"/>
              <a:t>lo stile del titolo</a:t>
            </a:r>
          </a:p>
        </p:txBody>
      </p:sp>
      <p:sp>
        <p:nvSpPr>
          <p:cNvPr id="17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3707906" y="3656172"/>
            <a:ext cx="5262675" cy="2900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400" b="0" i="0" baseline="0">
                <a:solidFill>
                  <a:srgbClr val="FFFFFF"/>
                </a:solidFill>
                <a:latin typeface="TIM Sans Medium" panose="02020503040602060503" pitchFamily="18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8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3707906" y="2140204"/>
            <a:ext cx="5262675" cy="39606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9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3707906" y="2384921"/>
            <a:ext cx="5262675" cy="32197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0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3707904" y="4435044"/>
            <a:ext cx="4391960" cy="179997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10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1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3707904" y="4255048"/>
            <a:ext cx="4391960" cy="179997"/>
          </a:xfrm>
          <a:prstGeom prst="rect">
            <a:avLst/>
          </a:prstGeom>
        </p:spPr>
        <p:txBody>
          <a:bodyPr vert="horz" lIns="0" tIns="0" bIns="0" anchor="ctr" anchorCtr="0"/>
          <a:lstStyle>
            <a:lvl1pPr marL="0" indent="0">
              <a:buNone/>
              <a:defRPr sz="10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39386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3563889" y="1039663"/>
            <a:ext cx="4965750" cy="19097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="1" i="0" baseline="0">
                <a:solidFill>
                  <a:srgbClr val="004691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2" name="Titolo 12"/>
          <p:cNvSpPr>
            <a:spLocks noGrp="1"/>
          </p:cNvSpPr>
          <p:nvPr>
            <p:ph type="title"/>
          </p:nvPr>
        </p:nvSpPr>
        <p:spPr>
          <a:xfrm>
            <a:off x="3563889" y="2392472"/>
            <a:ext cx="4965750" cy="507773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accent2"/>
                </a:solidFill>
                <a:latin typeface="TIM Sans" panose="02020503040602060503" pitchFamily="18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</a:p>
        </p:txBody>
      </p:sp>
      <p:sp>
        <p:nvSpPr>
          <p:cNvPr id="13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3563888" y="2985064"/>
            <a:ext cx="4953811" cy="30741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400" b="0" i="0" baseline="0">
                <a:solidFill>
                  <a:schemeClr val="tx2"/>
                </a:solidFill>
                <a:latin typeface="TIM Sans Medium" panose="02020503040602060503" pitchFamily="18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4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3563889" y="1285585"/>
            <a:ext cx="4965750" cy="24759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5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3563889" y="1559101"/>
            <a:ext cx="4965750" cy="24759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0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6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3563888" y="4905144"/>
            <a:ext cx="4391960" cy="179997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10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2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3563888" y="4725144"/>
            <a:ext cx="4391960" cy="179997"/>
          </a:xfrm>
          <a:prstGeom prst="rect">
            <a:avLst/>
          </a:prstGeom>
        </p:spPr>
        <p:txBody>
          <a:bodyPr vert="horz" lIns="0" tIns="0" bIns="0" anchor="ctr" anchorCtr="0"/>
          <a:lstStyle>
            <a:lvl1pPr marL="0" indent="0">
              <a:buNone/>
              <a:defRPr sz="10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1836178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3563889" y="989559"/>
            <a:ext cx="4965750" cy="2410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="1" i="0" baseline="0">
                <a:solidFill>
                  <a:schemeClr val="bg1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1" name="Titolo 12"/>
          <p:cNvSpPr>
            <a:spLocks noGrp="1"/>
          </p:cNvSpPr>
          <p:nvPr>
            <p:ph type="title"/>
          </p:nvPr>
        </p:nvSpPr>
        <p:spPr>
          <a:xfrm>
            <a:off x="3563889" y="2417528"/>
            <a:ext cx="4965750" cy="482721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chemeClr val="bg1"/>
                </a:solidFill>
                <a:latin typeface="TIM Sans" panose="02020503040602060503" pitchFamily="18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</a:p>
        </p:txBody>
      </p:sp>
      <p:sp>
        <p:nvSpPr>
          <p:cNvPr id="17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3563888" y="2972541"/>
            <a:ext cx="4965750" cy="31994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400" b="0" i="0" baseline="0">
                <a:solidFill>
                  <a:schemeClr val="bg1"/>
                </a:solidFill>
                <a:latin typeface="TIM Sans Medium" panose="02020503040602060503" pitchFamily="18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8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3563889" y="1239677"/>
            <a:ext cx="4965750" cy="31255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9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3563889" y="1494141"/>
            <a:ext cx="4965750" cy="31255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0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0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3563888" y="4905144"/>
            <a:ext cx="4391960" cy="179997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10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1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3563888" y="4725144"/>
            <a:ext cx="4391960" cy="179997"/>
          </a:xfrm>
          <a:prstGeom prst="rect">
            <a:avLst/>
          </a:prstGeom>
        </p:spPr>
        <p:txBody>
          <a:bodyPr vert="horz" lIns="0" tIns="0" bIns="0" anchor="ctr" anchorCtr="0"/>
          <a:lstStyle>
            <a:lvl1pPr marL="0" indent="0">
              <a:buNone/>
              <a:defRPr sz="10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2211283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2"/>
          <p:cNvSpPr>
            <a:spLocks noGrp="1"/>
          </p:cNvSpPr>
          <p:nvPr>
            <p:ph type="title" hasCustomPrompt="1"/>
          </p:nvPr>
        </p:nvSpPr>
        <p:spPr>
          <a:xfrm>
            <a:off x="1237216" y="2708920"/>
            <a:ext cx="7086978" cy="4824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aseline="0">
                <a:solidFill>
                  <a:schemeClr val="accent2"/>
                </a:solidFill>
                <a:latin typeface="TIM Sans" panose="02020503040602060503" pitchFamily="18" charset="0"/>
              </a:defRPr>
            </a:lvl1pPr>
          </a:lstStyle>
          <a:p>
            <a:r>
              <a:rPr lang="it-IT" dirty="0" smtClean="0"/>
              <a:t>Fare clic per modificare</a:t>
            </a:r>
            <a:br>
              <a:rPr lang="it-IT" dirty="0" smtClean="0"/>
            </a:br>
            <a:r>
              <a:rPr lang="it-IT" dirty="0" smtClean="0"/>
              <a:t>lo stile del titolo</a:t>
            </a:r>
          </a:p>
        </p:txBody>
      </p:sp>
      <p:sp>
        <p:nvSpPr>
          <p:cNvPr id="12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1237215" y="3282591"/>
            <a:ext cx="6173784" cy="288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600" b="0" i="0" baseline="0">
                <a:solidFill>
                  <a:schemeClr val="accent1"/>
                </a:solidFill>
                <a:latin typeface="TIM Sans Medium" panose="02020503040602060503" pitchFamily="18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1237215" y="5193220"/>
            <a:ext cx="4391960" cy="179997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10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4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1237215" y="5013223"/>
            <a:ext cx="4391960" cy="179997"/>
          </a:xfrm>
          <a:prstGeom prst="rect">
            <a:avLst/>
          </a:prstGeom>
        </p:spPr>
        <p:txBody>
          <a:bodyPr vert="horz" lIns="0" tIns="0" bIns="0" anchor="ctr" anchorCtr="0"/>
          <a:lstStyle>
            <a:lvl1pPr marL="0" indent="0">
              <a:buNone/>
              <a:defRPr sz="10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1237215" y="874840"/>
            <a:ext cx="6160811" cy="24990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="1" i="0" baseline="0">
                <a:solidFill>
                  <a:srgbClr val="004691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6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1237215" y="1151459"/>
            <a:ext cx="6160811" cy="32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2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1237215" y="1410688"/>
            <a:ext cx="6160811" cy="32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0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552936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zie B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72295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zie 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79743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3707906" y="1882953"/>
            <a:ext cx="5262675" cy="32197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="1" i="0" baseline="0">
                <a:solidFill>
                  <a:srgbClr val="FFFFFF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11" name="Titolo 12"/>
          <p:cNvSpPr>
            <a:spLocks noGrp="1"/>
          </p:cNvSpPr>
          <p:nvPr>
            <p:ph type="title" hasCustomPrompt="1"/>
          </p:nvPr>
        </p:nvSpPr>
        <p:spPr>
          <a:xfrm>
            <a:off x="3707906" y="2996952"/>
            <a:ext cx="5262675" cy="576096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baseline="0">
                <a:solidFill>
                  <a:srgbClr val="FFFFFF"/>
                </a:solidFill>
                <a:latin typeface="TIM Sans" panose="02020503040602060503" pitchFamily="18" charset="0"/>
              </a:defRPr>
            </a:lvl1pPr>
          </a:lstStyle>
          <a:p>
            <a:r>
              <a:rPr lang="it-IT" dirty="0"/>
              <a:t>Fare clic per modificare</a:t>
            </a:r>
            <a:br>
              <a:rPr lang="it-IT" dirty="0"/>
            </a:br>
            <a:r>
              <a:rPr lang="it-IT" dirty="0"/>
              <a:t>lo stile del titolo</a:t>
            </a:r>
          </a:p>
        </p:txBody>
      </p:sp>
      <p:sp>
        <p:nvSpPr>
          <p:cNvPr id="17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3707906" y="3656172"/>
            <a:ext cx="5262675" cy="2900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400" b="0" i="0" baseline="0">
                <a:solidFill>
                  <a:srgbClr val="FFFFFF"/>
                </a:solidFill>
                <a:latin typeface="TIM Sans Medium" panose="02020503040602060503" pitchFamily="18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18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3707906" y="2140204"/>
            <a:ext cx="5262675" cy="39606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19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3707906" y="2384921"/>
            <a:ext cx="5262675" cy="32197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0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20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3707904" y="4435044"/>
            <a:ext cx="4391960" cy="179997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10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  <p:sp>
        <p:nvSpPr>
          <p:cNvPr id="21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3707904" y="4255048"/>
            <a:ext cx="4391960" cy="179997"/>
          </a:xfrm>
          <a:prstGeom prst="rect">
            <a:avLst/>
          </a:prstGeom>
        </p:spPr>
        <p:txBody>
          <a:bodyPr vert="horz" lIns="0" tIns="0" bIns="0" anchor="ctr" anchorCtr="0"/>
          <a:lstStyle>
            <a:lvl1pPr marL="0" indent="0">
              <a:buNone/>
              <a:defRPr sz="10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5961672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234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parato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3" y="360363"/>
            <a:ext cx="8459788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  <a:endParaRPr lang="it-IT" dirty="0" smtClean="0"/>
          </a:p>
        </p:txBody>
      </p:sp>
      <p:sp>
        <p:nvSpPr>
          <p:cNvPr id="5" name="Content Placeholder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94953" y="952501"/>
            <a:ext cx="8450262" cy="522232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marL="285750" marR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 sz="1800">
                <a:solidFill>
                  <a:schemeClr val="tx1"/>
                </a:solidFill>
                <a:latin typeface="TIM Sans" panose="00000500000000000000" pitchFamily="50" charset="0"/>
              </a:defRPr>
            </a:lvl1pPr>
            <a:lvl2pPr marL="446088" indent="-285750">
              <a:lnSpc>
                <a:spcPct val="10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IM Sans" panose="00000500000000000000" pitchFamily="50" charset="0"/>
              </a:defRPr>
            </a:lvl2pPr>
            <a:lvl3pPr marL="971550" indent="-285750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it-IT" dirty="0" smtClean="0"/>
              <a:t>Argomento #1 in TIM Sans 18 </a:t>
            </a:r>
            <a:r>
              <a:rPr lang="it-IT" dirty="0" err="1" smtClean="0"/>
              <a:t>pt</a:t>
            </a:r>
            <a:endParaRPr lang="it-IT" dirty="0" smtClean="0"/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it-IT" dirty="0" smtClean="0"/>
              <a:t>Argomento #2 in TIM Sans 18 </a:t>
            </a:r>
            <a:r>
              <a:rPr lang="it-IT" dirty="0" err="1" smtClean="0"/>
              <a:t>pt</a:t>
            </a:r>
            <a:endParaRPr lang="it-IT" dirty="0" smtClean="0"/>
          </a:p>
          <a:p>
            <a:pPr marL="285750" marR="0" lvl="0" indent="-285750" algn="l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it-IT" dirty="0" smtClean="0"/>
              <a:t>Argomento #3 in TIM Sans 18 </a:t>
            </a:r>
            <a:r>
              <a:rPr lang="it-IT" dirty="0" err="1" smtClean="0"/>
              <a:t>pt</a:t>
            </a:r>
            <a:endParaRPr lang="it-IT" dirty="0" smtClean="0"/>
          </a:p>
        </p:txBody>
      </p:sp>
      <p:sp>
        <p:nvSpPr>
          <p:cNvPr id="9" name="Segnaposto piè di pagina 15"/>
          <p:cNvSpPr txBox="1">
            <a:spLocks/>
          </p:cNvSpPr>
          <p:nvPr/>
        </p:nvSpPr>
        <p:spPr>
          <a:xfrm>
            <a:off x="6589284" y="6448432"/>
            <a:ext cx="1943530" cy="365125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Demi" pitchFamily="34" charset="0"/>
                <a:ea typeface="MS PGothic" pitchFamily="34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Demi" pitchFamily="34" charset="0"/>
                <a:ea typeface="MS PGothic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Demi" pitchFamily="34" charset="0"/>
                <a:ea typeface="MS PGothic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Demi" pitchFamily="34" charset="0"/>
                <a:ea typeface="MS PGothic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ranklin Gothic Demi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Franklin Gothic Demi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Franklin Gothic Demi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Franklin Gothic Demi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Franklin Gothic Demi" pitchFamily="34" charset="0"/>
                <a:ea typeface="MS PGothic" pitchFamily="34" charset="-128"/>
                <a:cs typeface="+mn-cs"/>
              </a:defRPr>
            </a:lvl9pPr>
          </a:lstStyle>
          <a:p>
            <a:pPr algn="r">
              <a:defRPr/>
            </a:pPr>
            <a:r>
              <a:rPr lang="it-IT" sz="900" dirty="0" smtClean="0">
                <a:solidFill>
                  <a:srgbClr val="838383"/>
                </a:solidFill>
                <a:latin typeface="TIM Sans"/>
                <a:ea typeface="MS PGothic" charset="0"/>
                <a:cs typeface="MS PGothic" charset="0"/>
              </a:rPr>
              <a:t> Business &amp; Top Clients</a:t>
            </a:r>
            <a:endParaRPr lang="it-IT" sz="900" dirty="0">
              <a:solidFill>
                <a:srgbClr val="838383"/>
              </a:solidFill>
              <a:latin typeface="TIM Sans"/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5988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8.png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magin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1" name="Rettangolo 20"/>
          <p:cNvSpPr/>
          <p:nvPr/>
        </p:nvSpPr>
        <p:spPr>
          <a:xfrm>
            <a:off x="2555776" y="1376772"/>
            <a:ext cx="6588224" cy="4104456"/>
          </a:xfrm>
          <a:prstGeom prst="rect">
            <a:avLst/>
          </a:prstGeom>
          <a:solidFill>
            <a:srgbClr val="004691">
              <a:alpha val="8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2" name="Immagine 21" descr="primario_rgb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5" y="4725144"/>
            <a:ext cx="1359862" cy="36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04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5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6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Rettangolo 6"/>
          <p:cNvSpPr/>
          <p:nvPr/>
        </p:nvSpPr>
        <p:spPr>
          <a:xfrm>
            <a:off x="2555776" y="1376772"/>
            <a:ext cx="6588224" cy="4104456"/>
          </a:xfrm>
          <a:prstGeom prst="rect">
            <a:avLst/>
          </a:prstGeom>
          <a:solidFill>
            <a:srgbClr val="004691">
              <a:alpha val="8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8" name="Immagine 7" descr="primario_rgb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6194" y="4797152"/>
            <a:ext cx="1359862" cy="360040"/>
          </a:xfrm>
          <a:prstGeom prst="rect">
            <a:avLst/>
          </a:prstGeom>
        </p:spPr>
      </p:pic>
      <p:pic>
        <p:nvPicPr>
          <p:cNvPr id="13" name="Immagine 12" descr="TIM_Simbolo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040" y="1917827"/>
            <a:ext cx="1176280" cy="982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906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5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6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8"/>
          <p:cNvSpPr/>
          <p:nvPr/>
        </p:nvSpPr>
        <p:spPr>
          <a:xfrm rot="16200000">
            <a:off x="1143000" y="-1143000"/>
            <a:ext cx="6858000" cy="9144000"/>
          </a:xfrm>
          <a:prstGeom prst="rect">
            <a:avLst/>
          </a:prstGeom>
          <a:gradFill flip="none" rotWithShape="1">
            <a:gsLst>
              <a:gs pos="0">
                <a:srgbClr val="004691"/>
              </a:gs>
              <a:gs pos="100000">
                <a:srgbClr val="004691">
                  <a:alpha val="72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Rettangolo 9"/>
          <p:cNvSpPr/>
          <p:nvPr/>
        </p:nvSpPr>
        <p:spPr>
          <a:xfrm>
            <a:off x="2555776" y="260651"/>
            <a:ext cx="6336704" cy="52205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1" name="Immagine 10" descr="primario_rgb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5877272"/>
            <a:ext cx="1359862" cy="360040"/>
          </a:xfrm>
          <a:prstGeom prst="rect">
            <a:avLst/>
          </a:prstGeom>
        </p:spPr>
      </p:pic>
      <p:pic>
        <p:nvPicPr>
          <p:cNvPr id="12" name="Immagine 11" descr="TIM_Simbol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040" y="1005856"/>
            <a:ext cx="1176280" cy="982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83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5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6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/>
          <p:cNvSpPr/>
          <p:nvPr/>
        </p:nvSpPr>
        <p:spPr>
          <a:xfrm>
            <a:off x="2555776" y="260651"/>
            <a:ext cx="6336704" cy="52205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7" name="Immagine 6" descr="TIM_Simbol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040" y="1005856"/>
            <a:ext cx="1176280" cy="982984"/>
          </a:xfrm>
          <a:prstGeom prst="rect">
            <a:avLst/>
          </a:prstGeom>
        </p:spPr>
      </p:pic>
      <p:pic>
        <p:nvPicPr>
          <p:cNvPr id="8" name="Immagine 7" descr="secondario_rgb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94" y="5877272"/>
            <a:ext cx="1359869" cy="36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22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5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6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secondario_rgb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215" y="5773581"/>
            <a:ext cx="1606594" cy="425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391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5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6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/>
          <p:cNvSpPr/>
          <p:nvPr/>
        </p:nvSpPr>
        <p:spPr>
          <a:xfrm rot="16200000">
            <a:off x="1143000" y="-1143000"/>
            <a:ext cx="6858000" cy="9144000"/>
          </a:xfrm>
          <a:prstGeom prst="rect">
            <a:avLst/>
          </a:prstGeom>
          <a:gradFill flip="none" rotWithShape="1">
            <a:gsLst>
              <a:gs pos="0">
                <a:srgbClr val="004691"/>
              </a:gs>
              <a:gs pos="100000">
                <a:srgbClr val="004691">
                  <a:alpha val="72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0" name="Immagine 9" descr="primario_rgb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5517232"/>
            <a:ext cx="1359862" cy="360040"/>
          </a:xfrm>
          <a:prstGeom prst="rect">
            <a:avLst/>
          </a:prstGeom>
        </p:spPr>
      </p:pic>
      <p:sp>
        <p:nvSpPr>
          <p:cNvPr id="11" name="Titolo 1"/>
          <p:cNvSpPr txBox="1">
            <a:spLocks/>
          </p:cNvSpPr>
          <p:nvPr/>
        </p:nvSpPr>
        <p:spPr bwMode="auto">
          <a:xfrm>
            <a:off x="1496057" y="2708924"/>
            <a:ext cx="1316066" cy="53860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9pPr>
          </a:lstStyle>
          <a:p>
            <a:pPr algn="ctr" defTabSz="914400">
              <a:defRPr/>
            </a:pPr>
            <a:r>
              <a:rPr lang="it-IT" sz="3500" dirty="0" smtClean="0">
                <a:solidFill>
                  <a:srgbClr val="FFFFFF"/>
                </a:solidFill>
                <a:latin typeface="TIM Sans Medium" panose="02020503040602060503" pitchFamily="18" charset="0"/>
                <a:ea typeface="ＭＳ Ｐゴシック"/>
                <a:cs typeface="Arial"/>
              </a:rPr>
              <a:t>Grazie</a:t>
            </a:r>
          </a:p>
        </p:txBody>
      </p:sp>
    </p:spTree>
    <p:extLst>
      <p:ext uri="{BB962C8B-B14F-4D97-AF65-F5344CB8AC3E}">
        <p14:creationId xmlns:p14="http://schemas.microsoft.com/office/powerpoint/2010/main" val="43816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5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6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secondario_rgb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215" y="5773581"/>
            <a:ext cx="1606594" cy="425363"/>
          </a:xfrm>
          <a:prstGeom prst="rect">
            <a:avLst/>
          </a:prstGeom>
        </p:spPr>
      </p:pic>
      <p:sp>
        <p:nvSpPr>
          <p:cNvPr id="6" name="Titolo 1"/>
          <p:cNvSpPr txBox="1">
            <a:spLocks/>
          </p:cNvSpPr>
          <p:nvPr/>
        </p:nvSpPr>
        <p:spPr bwMode="auto">
          <a:xfrm>
            <a:off x="1220383" y="2708924"/>
            <a:ext cx="1316066" cy="53860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9pPr>
          </a:lstStyle>
          <a:p>
            <a:pPr algn="ctr" defTabSz="914400">
              <a:defRPr/>
            </a:pPr>
            <a:r>
              <a:rPr lang="it-IT" sz="3500" dirty="0" smtClean="0">
                <a:solidFill>
                  <a:srgbClr val="004691"/>
                </a:solidFill>
                <a:latin typeface="TIM Sans Medium" panose="02020503040602060503" pitchFamily="18" charset="0"/>
                <a:ea typeface="ＭＳ Ｐゴシック"/>
                <a:cs typeface="Arial"/>
              </a:rPr>
              <a:t>Grazie</a:t>
            </a:r>
          </a:p>
        </p:txBody>
      </p:sp>
    </p:spTree>
    <p:extLst>
      <p:ext uri="{BB962C8B-B14F-4D97-AF65-F5344CB8AC3E}">
        <p14:creationId xmlns:p14="http://schemas.microsoft.com/office/powerpoint/2010/main" val="815858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5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6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94593"/>
            <a:ext cx="9238593" cy="7145009"/>
          </a:xfrm>
          <a:prstGeom prst="rect">
            <a:avLst/>
          </a:prstGeom>
        </p:spPr>
      </p:pic>
      <p:pic>
        <p:nvPicPr>
          <p:cNvPr id="8" name="Immagine 7" descr="primario_rgb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6188" y="4967423"/>
            <a:ext cx="1359862" cy="36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956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5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6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150000"/>
        </a:lnSpc>
        <a:spcBef>
          <a:spcPts val="375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332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583501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13" imgW="493" imgH="493" progId="TCLayout.ActiveDocument.1">
                  <p:embed/>
                </p:oleObj>
              </mc:Choice>
              <mc:Fallback>
                <p:oleObj name="think-cell Slide" r:id="rId13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3" y="360363"/>
            <a:ext cx="8459788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 smtClean="0"/>
              <a:t>Titolo slide testo TIM Sans Grassetto 22 </a:t>
            </a:r>
            <a:r>
              <a:rPr lang="it-IT" dirty="0" err="1" smtClean="0"/>
              <a:t>pt</a:t>
            </a:r>
            <a:r>
              <a:rPr lang="it-IT" dirty="0" smtClean="0"/>
              <a:t> </a:t>
            </a:r>
          </a:p>
        </p:txBody>
      </p:sp>
      <p:sp>
        <p:nvSpPr>
          <p:cNvPr id="15" name="CasellaDiTesto 10"/>
          <p:cNvSpPr txBox="1">
            <a:spLocks noChangeArrowheads="1"/>
          </p:cNvSpPr>
          <p:nvPr/>
        </p:nvSpPr>
        <p:spPr bwMode="auto">
          <a:xfrm>
            <a:off x="8472490" y="6453196"/>
            <a:ext cx="417512" cy="138499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9pPr>
          </a:lstStyle>
          <a:p>
            <a:pPr algn="r" eaLnBrk="1" hangingPunct="1">
              <a:defRPr/>
            </a:pPr>
            <a:fld id="{E57557E4-A33F-4F68-B3B9-5C4EC024384C}" type="slidenum">
              <a:rPr lang="it-IT" sz="900" smtClean="0">
                <a:solidFill>
                  <a:srgbClr val="000000"/>
                </a:solidFill>
                <a:latin typeface="TIM Sans" panose="00000500000000000000" pitchFamily="50" charset="0"/>
              </a:rPr>
              <a:pPr algn="r" eaLnBrk="1" hangingPunct="1">
                <a:defRPr/>
              </a:pPr>
              <a:t>‹N›</a:t>
            </a:fld>
            <a:endParaRPr lang="it-IT" sz="900" dirty="0" smtClean="0">
              <a:solidFill>
                <a:srgbClr val="000000"/>
              </a:solidFill>
              <a:latin typeface="TIM Sans" panose="00000500000000000000" pitchFamily="50" charset="0"/>
            </a:endParaRPr>
          </a:p>
        </p:txBody>
      </p:sp>
      <p:cxnSp>
        <p:nvCxnSpPr>
          <p:cNvPr id="16" name="Connettore 1 15"/>
          <p:cNvCxnSpPr/>
          <p:nvPr/>
        </p:nvCxnSpPr>
        <p:spPr>
          <a:xfrm>
            <a:off x="8528050" y="6351594"/>
            <a:ext cx="0" cy="260351"/>
          </a:xfrm>
          <a:prstGeom prst="line">
            <a:avLst/>
          </a:prstGeom>
          <a:ln w="6350" cmpd="sng">
            <a:solidFill>
              <a:srgbClr val="EB002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4327" y="942975"/>
            <a:ext cx="8450263" cy="458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  <p:pic>
        <p:nvPicPr>
          <p:cNvPr id="20" name="Immagine 19" descr="secondario_rgb.png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28" y="6381341"/>
            <a:ext cx="948958" cy="251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281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</p:sldLayoutIdLst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0" kern="1200">
          <a:solidFill>
            <a:schemeClr val="accent2"/>
          </a:solidFill>
          <a:latin typeface="TIM Sans Medium" panose="02020503040602060503" pitchFamily="18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342900" indent="0" algn="l" defTabSz="685800" rtl="0" eaLnBrk="1" latinLnBrk="0" hangingPunct="1">
        <a:lnSpc>
          <a:spcPct val="120000"/>
        </a:lnSpc>
        <a:spcBef>
          <a:spcPts val="375"/>
        </a:spcBef>
        <a:buFontTx/>
        <a:buNone/>
        <a:defRPr sz="16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120000"/>
        </a:lnSpc>
        <a:spcBef>
          <a:spcPts val="375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jpg"/><Relationship Id="rId10" Type="http://schemas.openxmlformats.org/officeDocument/2006/relationships/image" Target="../media/image11.jpg"/><Relationship Id="rId4" Type="http://schemas.openxmlformats.org/officeDocument/2006/relationships/image" Target="../media/image14.jpg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17" Type="http://schemas.openxmlformats.org/officeDocument/2006/relationships/image" Target="../media/image11.jpg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1"/>
          <p:cNvSpPr txBox="1">
            <a:spLocks/>
          </p:cNvSpPr>
          <p:nvPr/>
        </p:nvSpPr>
        <p:spPr>
          <a:xfrm>
            <a:off x="3316749" y="2126403"/>
            <a:ext cx="4965750" cy="2410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685800" rtl="0" eaLnBrk="1" latinLnBrk="0" hangingPunct="1">
              <a:lnSpc>
                <a:spcPct val="150000"/>
              </a:lnSpc>
              <a:spcBef>
                <a:spcPts val="750"/>
              </a:spcBef>
              <a:buFontTx/>
              <a:buNone/>
              <a:defRPr sz="1200" b="1" i="0" kern="1200" baseline="0">
                <a:solidFill>
                  <a:schemeClr val="bg1"/>
                </a:solidFill>
                <a:latin typeface="TIM Sans" panose="00000500000000000000" pitchFamily="50" charset="0"/>
                <a:ea typeface="+mn-ea"/>
                <a:cs typeface="Arial" panose="020B0604020202020204" pitchFamily="34" charset="0"/>
              </a:defRPr>
            </a:lvl1pPr>
            <a:lvl2pPr marL="342900" indent="0" algn="l" defTabSz="685800" rtl="0" eaLnBrk="1" latinLnBrk="0" hangingPunct="1">
              <a:lnSpc>
                <a:spcPct val="150000"/>
              </a:lnSpc>
              <a:spcBef>
                <a:spcPts val="375"/>
              </a:spcBef>
              <a:buFontTx/>
              <a:buNone/>
              <a:defRPr sz="1400" b="1" i="0" kern="1200" baseline="0">
                <a:solidFill>
                  <a:schemeClr val="accent3"/>
                </a:solidFill>
                <a:latin typeface="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150000"/>
              </a:lnSpc>
              <a:spcBef>
                <a:spcPts val="375"/>
              </a:spcBef>
              <a:buFontTx/>
              <a:buNone/>
              <a:defRPr sz="1400" b="1" i="0" kern="1200" baseline="0">
                <a:solidFill>
                  <a:schemeClr val="accent3"/>
                </a:solidFill>
                <a:latin typeface="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b="1" i="0" kern="1200" baseline="0">
                <a:solidFill>
                  <a:schemeClr val="accent3"/>
                </a:solidFill>
                <a:latin typeface="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b="1" i="0" kern="1200" baseline="0">
                <a:solidFill>
                  <a:schemeClr val="accent3"/>
                </a:solidFill>
                <a:latin typeface="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mtClean="0">
                <a:cs typeface="Arial" charset="0"/>
              </a:rPr>
              <a:t>GRUPPO TELECOM ITALIA TIM </a:t>
            </a:r>
            <a:endParaRPr lang="it-IT" dirty="0">
              <a:cs typeface="Arial" charset="0"/>
            </a:endParaRPr>
          </a:p>
        </p:txBody>
      </p:sp>
      <p:sp>
        <p:nvSpPr>
          <p:cNvPr id="9" name="Titolo 2"/>
          <p:cNvSpPr txBox="1">
            <a:spLocks/>
          </p:cNvSpPr>
          <p:nvPr/>
        </p:nvSpPr>
        <p:spPr>
          <a:xfrm>
            <a:off x="3303871" y="4211193"/>
            <a:ext cx="4965750" cy="482721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kern="1200" baseline="0">
                <a:solidFill>
                  <a:schemeClr val="bg1"/>
                </a:solidFill>
                <a:latin typeface="TIM Sans" panose="02020503040602060503" pitchFamily="18" charset="0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 smtClean="0">
                <a:solidFill>
                  <a:sysClr val="window" lastClr="FFFFFF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TIM : </a:t>
            </a:r>
            <a:r>
              <a:rPr lang="it-IT" dirty="0" err="1" smtClean="0">
                <a:solidFill>
                  <a:sysClr val="window" lastClr="FFFFFF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Cloud</a:t>
            </a:r>
            <a:r>
              <a:rPr lang="it-IT" dirty="0" smtClean="0">
                <a:solidFill>
                  <a:sysClr val="window" lastClr="FFFFFF"/>
                </a:solidFill>
                <a:latin typeface="+mn-lt"/>
                <a:ea typeface="ＭＳ Ｐゴシック"/>
                <a:cs typeface="Arial" panose="020B0604020202020204" pitchFamily="34" charset="0"/>
              </a:rPr>
              <a:t> e larga banda, gli effetti della I40</a:t>
            </a:r>
            <a:r>
              <a:rPr kumimoji="0" lang="it-IT" sz="2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n-lt"/>
                <a:ea typeface="ＭＳ Ｐゴシック"/>
                <a:cs typeface="Arial" panose="020B0604020202020204" pitchFamily="34" charset="0"/>
              </a:rPr>
              <a:t/>
            </a:r>
            <a:br>
              <a:rPr kumimoji="0" lang="it-IT" sz="2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n-lt"/>
                <a:ea typeface="ＭＳ Ｐゴシック"/>
                <a:cs typeface="Arial" panose="020B0604020202020204" pitchFamily="34" charset="0"/>
              </a:rPr>
            </a:br>
            <a:endParaRPr kumimoji="0" lang="it-IT" sz="24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n-lt"/>
              <a:ea typeface="ＭＳ Ｐゴシック"/>
              <a:cs typeface="Arial"/>
            </a:endParaRPr>
          </a:p>
        </p:txBody>
      </p:sp>
      <p:sp>
        <p:nvSpPr>
          <p:cNvPr id="10" name="Segnaposto testo 4"/>
          <p:cNvSpPr txBox="1">
            <a:spLocks/>
          </p:cNvSpPr>
          <p:nvPr/>
        </p:nvSpPr>
        <p:spPr>
          <a:xfrm>
            <a:off x="3316749" y="2376520"/>
            <a:ext cx="4965750" cy="312555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685800" rtl="0" eaLnBrk="1" latinLnBrk="0" hangingPunct="1">
              <a:lnSpc>
                <a:spcPct val="150000"/>
              </a:lnSpc>
              <a:spcBef>
                <a:spcPts val="750"/>
              </a:spcBef>
              <a:buFontTx/>
              <a:buNone/>
              <a:defRPr sz="1200" kern="1200" baseline="0">
                <a:solidFill>
                  <a:schemeClr val="bg1"/>
                </a:solidFill>
                <a:latin typeface="TIM Sans" panose="00000500000000000000" pitchFamily="50" charset="0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150000"/>
              </a:lnSpc>
              <a:spcBef>
                <a:spcPts val="375"/>
              </a:spcBef>
              <a:buFontTx/>
              <a:buNone/>
              <a:defRPr sz="1400" kern="1200">
                <a:solidFill>
                  <a:schemeClr val="accent1"/>
                </a:solidFill>
                <a:latin typeface="Franklin Gothic Medium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150000"/>
              </a:lnSpc>
              <a:spcBef>
                <a:spcPts val="375"/>
              </a:spcBef>
              <a:buFontTx/>
              <a:buNone/>
              <a:defRPr sz="1400" kern="1200">
                <a:solidFill>
                  <a:schemeClr val="accent1"/>
                </a:solidFill>
                <a:latin typeface="Franklin Gothic Medium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1"/>
                </a:solidFill>
                <a:latin typeface="Franklin Gothic Medium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accent1"/>
                </a:solidFill>
                <a:latin typeface="Franklin Gothic Medium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5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IM Sans" panose="00000500000000000000" pitchFamily="50" charset="0"/>
                <a:ea typeface="ＭＳ Ｐゴシック"/>
                <a:cs typeface="Arial"/>
              </a:rPr>
              <a:t>Napoli </a:t>
            </a:r>
            <a:r>
              <a:rPr lang="it-IT" dirty="0" smtClean="0">
                <a:solidFill>
                  <a:sysClr val="window" lastClr="FFFFFF"/>
                </a:solidFill>
                <a:ea typeface="ＭＳ Ｐゴシック"/>
                <a:cs typeface="Arial"/>
              </a:rPr>
              <a:t>19</a:t>
            </a:r>
            <a:r>
              <a:rPr kumimoji="0" lang="it-IT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IM Sans" panose="00000500000000000000" pitchFamily="50" charset="0"/>
                <a:ea typeface="ＭＳ Ｐゴシック"/>
                <a:cs typeface="Arial"/>
              </a:rPr>
              <a:t> dicembre </a:t>
            </a:r>
            <a:r>
              <a:rPr kumimoji="0" lang="it-IT" sz="1200" b="0" i="0" u="none" strike="noStrike" kern="1200" cap="none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IM Sans" panose="00000500000000000000" pitchFamily="50" charset="0"/>
                <a:ea typeface="ＭＳ Ｐゴシック"/>
                <a:cs typeface="Arial"/>
              </a:rPr>
              <a:t>2017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 Sans" panose="00000500000000000000" pitchFamily="50" charset="0"/>
              <a:ea typeface="ＭＳ Ｐゴシック"/>
              <a:cs typeface="Arial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9732" y="1520812"/>
            <a:ext cx="1896533" cy="84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623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ttangolo 39"/>
          <p:cNvSpPr/>
          <p:nvPr/>
        </p:nvSpPr>
        <p:spPr>
          <a:xfrm>
            <a:off x="7476067" y="2499021"/>
            <a:ext cx="1377724" cy="3530600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nnovazione  digitale: un cambio di stato</a:t>
            </a:r>
            <a:endParaRPr lang="it-IT" dirty="0"/>
          </a:p>
        </p:txBody>
      </p:sp>
      <p:sp>
        <p:nvSpPr>
          <p:cNvPr id="3" name="CasellaDiTesto 2"/>
          <p:cNvSpPr txBox="1"/>
          <p:nvPr/>
        </p:nvSpPr>
        <p:spPr>
          <a:xfrm>
            <a:off x="357554" y="952175"/>
            <a:ext cx="8496237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 smtClean="0">
                <a:solidFill>
                  <a:srgbClr val="FF0000"/>
                </a:solidFill>
              </a:rPr>
              <a:t>Digital </a:t>
            </a:r>
            <a:r>
              <a:rPr lang="it-IT" b="1" dirty="0" err="1" smtClean="0">
                <a:solidFill>
                  <a:srgbClr val="FF0000"/>
                </a:solidFill>
              </a:rPr>
              <a:t>Innovation</a:t>
            </a:r>
            <a:r>
              <a:rPr lang="it-IT" b="1" dirty="0" smtClean="0">
                <a:solidFill>
                  <a:srgbClr val="FF0000"/>
                </a:solidFill>
              </a:rPr>
              <a:t> </a:t>
            </a:r>
            <a:r>
              <a:rPr lang="it-IT" b="1" dirty="0" err="1" smtClean="0">
                <a:solidFill>
                  <a:srgbClr val="FF0000"/>
                </a:solidFill>
              </a:rPr>
              <a:t>Hub</a:t>
            </a:r>
            <a:r>
              <a:rPr lang="it-IT" b="1" dirty="0" smtClean="0">
                <a:solidFill>
                  <a:srgbClr val="FF0000"/>
                </a:solidFill>
              </a:rPr>
              <a:t> </a:t>
            </a:r>
            <a:r>
              <a:rPr lang="it-IT" dirty="0" smtClean="0"/>
              <a:t>: il luogo dove lo scambio </a:t>
            </a:r>
            <a:r>
              <a:rPr lang="it-IT" dirty="0" smtClean="0"/>
              <a:t>e </a:t>
            </a:r>
            <a:r>
              <a:rPr lang="it-IT" dirty="0" smtClean="0"/>
              <a:t>la condivisione </a:t>
            </a:r>
          </a:p>
          <a:p>
            <a:r>
              <a:rPr lang="it-IT" dirty="0" smtClean="0"/>
              <a:t>delle diverse competenze possa generare una nuovo modo di fare le cose</a:t>
            </a:r>
          </a:p>
          <a:p>
            <a:endParaRPr lang="it-IT" dirty="0"/>
          </a:p>
          <a:p>
            <a:r>
              <a:rPr lang="it-IT" b="1" dirty="0" smtClean="0">
                <a:solidFill>
                  <a:srgbClr val="FF0000"/>
                </a:solidFill>
              </a:rPr>
              <a:t>Digitalizzazione</a:t>
            </a:r>
            <a:r>
              <a:rPr lang="it-IT" dirty="0" smtClean="0"/>
              <a:t> : si è creata un nuovo sistema tecnologico che rende possibile</a:t>
            </a:r>
          </a:p>
          <a:p>
            <a:r>
              <a:rPr lang="it-IT" dirty="0" smtClean="0"/>
              <a:t>un cambiamento del modo di creare ricchezza attraverso macchine non solo</a:t>
            </a:r>
          </a:p>
          <a:p>
            <a:r>
              <a:rPr lang="it-IT" dirty="0" smtClean="0"/>
              <a:t>più veloci ma più intelligenti e tra loro interconnesse</a:t>
            </a:r>
          </a:p>
        </p:txBody>
      </p:sp>
      <p:sp>
        <p:nvSpPr>
          <p:cNvPr id="9" name="Croce 8"/>
          <p:cNvSpPr/>
          <p:nvPr/>
        </p:nvSpPr>
        <p:spPr>
          <a:xfrm>
            <a:off x="1102783" y="4926423"/>
            <a:ext cx="487729" cy="426939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851" y="3022600"/>
            <a:ext cx="1471314" cy="1032279"/>
          </a:xfrm>
          <a:prstGeom prst="rect">
            <a:avLst/>
          </a:prstGeom>
        </p:spPr>
      </p:pic>
      <p:pic>
        <p:nvPicPr>
          <p:cNvPr id="18" name="Immagin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1852" y="4773744"/>
            <a:ext cx="1450564" cy="990303"/>
          </a:xfrm>
          <a:prstGeom prst="rect">
            <a:avLst/>
          </a:prstGeom>
        </p:spPr>
      </p:pic>
      <p:pic>
        <p:nvPicPr>
          <p:cNvPr id="19" name="Immagin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744" y="5287135"/>
            <a:ext cx="759453" cy="759453"/>
          </a:xfrm>
          <a:prstGeom prst="rect">
            <a:avLst/>
          </a:prstGeom>
        </p:spPr>
      </p:pic>
      <p:pic>
        <p:nvPicPr>
          <p:cNvPr id="20" name="Immagin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0512" y="5287134"/>
            <a:ext cx="759453" cy="759453"/>
          </a:xfrm>
          <a:prstGeom prst="rect">
            <a:avLst/>
          </a:prstGeom>
        </p:spPr>
      </p:pic>
      <p:pic>
        <p:nvPicPr>
          <p:cNvPr id="23" name="Immagine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411" y="4011115"/>
            <a:ext cx="872864" cy="872864"/>
          </a:xfrm>
          <a:prstGeom prst="rect">
            <a:avLst/>
          </a:prstGeom>
        </p:spPr>
      </p:pic>
      <p:pic>
        <p:nvPicPr>
          <p:cNvPr id="29" name="Immagine 2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255" y="2810202"/>
            <a:ext cx="1296052" cy="725790"/>
          </a:xfrm>
          <a:prstGeom prst="rect">
            <a:avLst/>
          </a:prstGeom>
        </p:spPr>
      </p:pic>
      <p:pic>
        <p:nvPicPr>
          <p:cNvPr id="30" name="Immagine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8688" y="3903133"/>
            <a:ext cx="1346118" cy="895781"/>
          </a:xfrm>
          <a:prstGeom prst="rect">
            <a:avLst/>
          </a:prstGeom>
        </p:spPr>
      </p:pic>
      <p:sp>
        <p:nvSpPr>
          <p:cNvPr id="31" name="Croce 30"/>
          <p:cNvSpPr/>
          <p:nvPr/>
        </p:nvSpPr>
        <p:spPr>
          <a:xfrm>
            <a:off x="4651295" y="4221603"/>
            <a:ext cx="487729" cy="426939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4" name="Immagin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2306" y="4804512"/>
            <a:ext cx="965245" cy="965245"/>
          </a:xfrm>
          <a:prstGeom prst="rect">
            <a:avLst/>
          </a:prstGeom>
        </p:spPr>
      </p:pic>
      <p:pic>
        <p:nvPicPr>
          <p:cNvPr id="35" name="Immagine 3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5596" y="3952878"/>
            <a:ext cx="931181" cy="619658"/>
          </a:xfrm>
          <a:prstGeom prst="rect">
            <a:avLst/>
          </a:prstGeom>
        </p:spPr>
      </p:pic>
      <p:pic>
        <p:nvPicPr>
          <p:cNvPr id="36" name="Immagine 3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1533" y="2664508"/>
            <a:ext cx="1017177" cy="1017177"/>
          </a:xfrm>
          <a:prstGeom prst="rect">
            <a:avLst/>
          </a:prstGeom>
        </p:spPr>
      </p:pic>
      <p:sp>
        <p:nvSpPr>
          <p:cNvPr id="37" name="Freccia bidirezionale verticale 36"/>
          <p:cNvSpPr/>
          <p:nvPr/>
        </p:nvSpPr>
        <p:spPr>
          <a:xfrm>
            <a:off x="1210733" y="3535992"/>
            <a:ext cx="218267" cy="475123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9" name="Freccia bidirezionale orizzontale 38"/>
          <p:cNvSpPr/>
          <p:nvPr/>
        </p:nvSpPr>
        <p:spPr>
          <a:xfrm>
            <a:off x="6654800" y="4264321"/>
            <a:ext cx="677333" cy="339932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1" name="Immagine 4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4397" y="6203220"/>
            <a:ext cx="1185334" cy="52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0145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862517" y="-706603"/>
            <a:ext cx="5476726" cy="8027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5560" y="1897790"/>
            <a:ext cx="596255" cy="446616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822" y="1739041"/>
            <a:ext cx="596255" cy="446616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5325" y="3656395"/>
            <a:ext cx="596255" cy="44661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3138" y="1674482"/>
            <a:ext cx="596255" cy="446616"/>
          </a:xfrm>
          <a:prstGeom prst="rect">
            <a:avLst/>
          </a:prstGeom>
        </p:spPr>
      </p:pic>
      <p:sp>
        <p:nvSpPr>
          <p:cNvPr id="7" name="CasellaDiTesto 6"/>
          <p:cNvSpPr txBox="1"/>
          <p:nvPr/>
        </p:nvSpPr>
        <p:spPr>
          <a:xfrm>
            <a:off x="2515810" y="6349346"/>
            <a:ext cx="4644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 smtClean="0">
                <a:solidFill>
                  <a:srgbClr val="FF0000"/>
                </a:solidFill>
              </a:rPr>
              <a:t>HBR  </a:t>
            </a:r>
            <a:r>
              <a:rPr lang="it-IT" b="1" dirty="0" err="1" smtClean="0">
                <a:solidFill>
                  <a:srgbClr val="FF0000"/>
                </a:solidFill>
              </a:rPr>
              <a:t>Nov</a:t>
            </a:r>
            <a:r>
              <a:rPr lang="it-IT" b="1" dirty="0" smtClean="0">
                <a:solidFill>
                  <a:srgbClr val="FF0000"/>
                </a:solidFill>
              </a:rPr>
              <a:t>. 2014 M. Porter; J.E. </a:t>
            </a:r>
            <a:r>
              <a:rPr lang="it-IT" b="1" dirty="0" err="1" smtClean="0">
                <a:solidFill>
                  <a:srgbClr val="FF0000"/>
                </a:solidFill>
              </a:rPr>
              <a:t>Happelman</a:t>
            </a:r>
            <a:endParaRPr lang="it-IT" b="1" dirty="0">
              <a:solidFill>
                <a:srgbClr val="FF0000"/>
              </a:solidFill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4397" y="6203220"/>
            <a:ext cx="1185334" cy="529167"/>
          </a:xfrm>
          <a:prstGeom prst="rect">
            <a:avLst/>
          </a:prstGeom>
        </p:spPr>
      </p:pic>
      <p:sp>
        <p:nvSpPr>
          <p:cNvPr id="9" name="Titolo 1"/>
          <p:cNvSpPr>
            <a:spLocks noGrp="1"/>
          </p:cNvSpPr>
          <p:nvPr>
            <p:ph type="title"/>
          </p:nvPr>
        </p:nvSpPr>
        <p:spPr>
          <a:xfrm>
            <a:off x="275696" y="213169"/>
            <a:ext cx="8459788" cy="355600"/>
          </a:xfrm>
        </p:spPr>
        <p:txBody>
          <a:bodyPr/>
          <a:lstStyle/>
          <a:p>
            <a:r>
              <a:rPr lang="it-IT" dirty="0" smtClean="0"/>
              <a:t>I 4.0: un nuovo sistema tecnologic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30635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 txBox="1">
            <a:spLocks/>
          </p:cNvSpPr>
          <p:nvPr/>
        </p:nvSpPr>
        <p:spPr>
          <a:xfrm>
            <a:off x="55007" y="78481"/>
            <a:ext cx="8229600" cy="472337"/>
          </a:xfrm>
          <a:prstGeom prst="rect">
            <a:avLst/>
          </a:prstGeom>
          <a:ln>
            <a:noFill/>
          </a:ln>
        </p:spPr>
        <p:txBody>
          <a:bodyPr anchor="ctr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0" kern="1200">
                <a:solidFill>
                  <a:schemeClr val="accent2"/>
                </a:solidFill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it-IT" sz="2000" dirty="0" smtClean="0"/>
              <a:t>I40: i sistemi interconnessi ed intelligenti</a:t>
            </a:r>
            <a:endParaRPr lang="it-IT" sz="2000" dirty="0">
              <a:solidFill>
                <a:srgbClr val="002060"/>
              </a:solidFill>
            </a:endParaRPr>
          </a:p>
        </p:txBody>
      </p:sp>
      <p:graphicFrame>
        <p:nvGraphicFramePr>
          <p:cNvPr id="21" name="Diagramma 20"/>
          <p:cNvGraphicFramePr/>
          <p:nvPr>
            <p:extLst>
              <p:ext uri="{D42A27DB-BD31-4B8C-83A1-F6EECF244321}">
                <p14:modId xmlns:p14="http://schemas.microsoft.com/office/powerpoint/2010/main" val="1677740057"/>
              </p:ext>
            </p:extLst>
          </p:nvPr>
        </p:nvGraphicFramePr>
        <p:xfrm>
          <a:off x="55007" y="3699933"/>
          <a:ext cx="5143526" cy="25738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1912398434"/>
              </p:ext>
            </p:extLst>
          </p:nvPr>
        </p:nvGraphicFramePr>
        <p:xfrm>
          <a:off x="249741" y="441648"/>
          <a:ext cx="5135059" cy="30042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220134" y="1185333"/>
            <a:ext cx="135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Produzione</a:t>
            </a:r>
            <a:endParaRPr lang="it-IT" dirty="0"/>
          </a:p>
        </p:txBody>
      </p:sp>
      <p:sp>
        <p:nvSpPr>
          <p:cNvPr id="20" name="CasellaDiTesto 19"/>
          <p:cNvSpPr txBox="1"/>
          <p:nvPr/>
        </p:nvSpPr>
        <p:spPr>
          <a:xfrm>
            <a:off x="3462867" y="590435"/>
            <a:ext cx="19559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Prodotto/servizio</a:t>
            </a:r>
            <a:endParaRPr lang="it-IT" dirty="0"/>
          </a:p>
        </p:txBody>
      </p:sp>
      <p:sp>
        <p:nvSpPr>
          <p:cNvPr id="23" name="CasellaDiTesto 22"/>
          <p:cNvSpPr txBox="1"/>
          <p:nvPr/>
        </p:nvSpPr>
        <p:spPr>
          <a:xfrm>
            <a:off x="4275666" y="1478950"/>
            <a:ext cx="24945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Distribuzione/logistica</a:t>
            </a:r>
            <a:endParaRPr lang="it-IT" dirty="0"/>
          </a:p>
        </p:txBody>
      </p:sp>
      <p:sp>
        <p:nvSpPr>
          <p:cNvPr id="24" name="CasellaDiTesto 23"/>
          <p:cNvSpPr txBox="1"/>
          <p:nvPr/>
        </p:nvSpPr>
        <p:spPr>
          <a:xfrm>
            <a:off x="3462867" y="2997684"/>
            <a:ext cx="9108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Cliente</a:t>
            </a:r>
            <a:endParaRPr lang="it-IT" dirty="0"/>
          </a:p>
        </p:txBody>
      </p:sp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4052039735"/>
              </p:ext>
            </p:extLst>
          </p:nvPr>
        </p:nvGraphicFramePr>
        <p:xfrm>
          <a:off x="5562600" y="1899067"/>
          <a:ext cx="3462841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25" name="Immagine 24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4397" y="6203220"/>
            <a:ext cx="1185334" cy="529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583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- Cover 1">
  <a:themeElements>
    <a:clrScheme name="Palette TIM">
      <a:dk1>
        <a:srgbClr val="000000"/>
      </a:dk1>
      <a:lt1>
        <a:sysClr val="window" lastClr="FFFFFF"/>
      </a:lt1>
      <a:dk2>
        <a:srgbClr val="004691"/>
      </a:dk2>
      <a:lt2>
        <a:srgbClr val="E6E6E6"/>
      </a:lt2>
      <a:accent1>
        <a:srgbClr val="004691"/>
      </a:accent1>
      <a:accent2>
        <a:srgbClr val="EB0028"/>
      </a:accent2>
      <a:accent3>
        <a:srgbClr val="A0A0A0"/>
      </a:accent3>
      <a:accent4>
        <a:srgbClr val="003264"/>
      </a:accent4>
      <a:accent5>
        <a:srgbClr val="960028"/>
      </a:accent5>
      <a:accent6>
        <a:srgbClr val="E6E6E6"/>
      </a:accent6>
      <a:hlink>
        <a:srgbClr val="376EA5"/>
      </a:hlink>
      <a:folHlink>
        <a:srgbClr val="C80028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zione standard1" id="{9F1520E2-F50C-4646-9013-757CBBBF7433}" vid="{DAAA56A5-24A7-47E3-8893-6389EF6093B1}"/>
    </a:ext>
  </a:extLst>
</a:theme>
</file>

<file path=ppt/theme/theme10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- Cover 2">
  <a:themeElements>
    <a:clrScheme name="Palette TIM">
      <a:dk1>
        <a:srgbClr val="000000"/>
      </a:dk1>
      <a:lt1>
        <a:sysClr val="window" lastClr="FFFFFF"/>
      </a:lt1>
      <a:dk2>
        <a:srgbClr val="004691"/>
      </a:dk2>
      <a:lt2>
        <a:srgbClr val="E6E6E6"/>
      </a:lt2>
      <a:accent1>
        <a:srgbClr val="004691"/>
      </a:accent1>
      <a:accent2>
        <a:srgbClr val="EB0028"/>
      </a:accent2>
      <a:accent3>
        <a:srgbClr val="A0A0A0"/>
      </a:accent3>
      <a:accent4>
        <a:srgbClr val="003264"/>
      </a:accent4>
      <a:accent5>
        <a:srgbClr val="960028"/>
      </a:accent5>
      <a:accent6>
        <a:srgbClr val="E6E6E6"/>
      </a:accent6>
      <a:hlink>
        <a:srgbClr val="376EA5"/>
      </a:hlink>
      <a:folHlink>
        <a:srgbClr val="C80028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zione standard1" id="{9F1520E2-F50C-4646-9013-757CBBBF7433}" vid="{8DEF4854-5C66-47E6-9C1D-C03448377900}"/>
    </a:ext>
  </a:extLst>
</a:theme>
</file>

<file path=ppt/theme/theme3.xml><?xml version="1.0" encoding="utf-8"?>
<a:theme xmlns:a="http://schemas.openxmlformats.org/drawingml/2006/main" name="Master - Cover 3">
  <a:themeElements>
    <a:clrScheme name="Palette TIM">
      <a:dk1>
        <a:srgbClr val="000000"/>
      </a:dk1>
      <a:lt1>
        <a:sysClr val="window" lastClr="FFFFFF"/>
      </a:lt1>
      <a:dk2>
        <a:srgbClr val="004691"/>
      </a:dk2>
      <a:lt2>
        <a:srgbClr val="E6E6E6"/>
      </a:lt2>
      <a:accent1>
        <a:srgbClr val="004691"/>
      </a:accent1>
      <a:accent2>
        <a:srgbClr val="EB0028"/>
      </a:accent2>
      <a:accent3>
        <a:srgbClr val="A0A0A0"/>
      </a:accent3>
      <a:accent4>
        <a:srgbClr val="003264"/>
      </a:accent4>
      <a:accent5>
        <a:srgbClr val="960028"/>
      </a:accent5>
      <a:accent6>
        <a:srgbClr val="E6E6E6"/>
      </a:accent6>
      <a:hlink>
        <a:srgbClr val="376EA5"/>
      </a:hlink>
      <a:folHlink>
        <a:srgbClr val="C80028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zione standard1" id="{9F1520E2-F50C-4646-9013-757CBBBF7433}" vid="{AC7B7A17-EAF4-49B6-AAA3-D92AD5C66F91}"/>
    </a:ext>
  </a:extLst>
</a:theme>
</file>

<file path=ppt/theme/theme4.xml><?xml version="1.0" encoding="utf-8"?>
<a:theme xmlns:a="http://schemas.openxmlformats.org/drawingml/2006/main" name="Master - Cover 4">
  <a:themeElements>
    <a:clrScheme name="Palette TIM">
      <a:dk1>
        <a:srgbClr val="000000"/>
      </a:dk1>
      <a:lt1>
        <a:sysClr val="window" lastClr="FFFFFF"/>
      </a:lt1>
      <a:dk2>
        <a:srgbClr val="004691"/>
      </a:dk2>
      <a:lt2>
        <a:srgbClr val="E6E6E6"/>
      </a:lt2>
      <a:accent1>
        <a:srgbClr val="004691"/>
      </a:accent1>
      <a:accent2>
        <a:srgbClr val="EB0028"/>
      </a:accent2>
      <a:accent3>
        <a:srgbClr val="A0A0A0"/>
      </a:accent3>
      <a:accent4>
        <a:srgbClr val="003264"/>
      </a:accent4>
      <a:accent5>
        <a:srgbClr val="960028"/>
      </a:accent5>
      <a:accent6>
        <a:srgbClr val="B4D28C"/>
      </a:accent6>
      <a:hlink>
        <a:srgbClr val="376EA5"/>
      </a:hlink>
      <a:folHlink>
        <a:srgbClr val="C80028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zione standard1" id="{9F1520E2-F50C-4646-9013-757CBBBF7433}" vid="{DBE15E14-61B7-483A-BFB0-20E3D3FC1270}"/>
    </a:ext>
  </a:extLst>
</a:theme>
</file>

<file path=ppt/theme/theme5.xml><?xml version="1.0" encoding="utf-8"?>
<a:theme xmlns:a="http://schemas.openxmlformats.org/drawingml/2006/main" name="Master - Cover Bianca">
  <a:themeElements>
    <a:clrScheme name="Palette TIM">
      <a:dk1>
        <a:srgbClr val="000000"/>
      </a:dk1>
      <a:lt1>
        <a:sysClr val="window" lastClr="FFFFFF"/>
      </a:lt1>
      <a:dk2>
        <a:srgbClr val="82B9E6"/>
      </a:dk2>
      <a:lt2>
        <a:srgbClr val="E6E6E6"/>
      </a:lt2>
      <a:accent1>
        <a:srgbClr val="004691"/>
      </a:accent1>
      <a:accent2>
        <a:srgbClr val="EB0028"/>
      </a:accent2>
      <a:accent3>
        <a:srgbClr val="FBD872"/>
      </a:accent3>
      <a:accent4>
        <a:srgbClr val="003264"/>
      </a:accent4>
      <a:accent5>
        <a:srgbClr val="AAA5C8"/>
      </a:accent5>
      <a:accent6>
        <a:srgbClr val="B4D28C"/>
      </a:accent6>
      <a:hlink>
        <a:srgbClr val="376EA5"/>
      </a:hlink>
      <a:folHlink>
        <a:srgbClr val="C80028"/>
      </a:folHlink>
    </a:clrScheme>
    <a:fontScheme name="TIM Font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zione standard1" id="{9F1520E2-F50C-4646-9013-757CBBBF7433}" vid="{05D09B82-726C-4381-833C-1528D1ECBEED}"/>
    </a:ext>
  </a:extLst>
</a:theme>
</file>

<file path=ppt/theme/theme6.xml><?xml version="1.0" encoding="utf-8"?>
<a:theme xmlns:a="http://schemas.openxmlformats.org/drawingml/2006/main" name="Mastro - Grazie Blu">
  <a:themeElements>
    <a:clrScheme name="Palette TIM">
      <a:dk1>
        <a:srgbClr val="000000"/>
      </a:dk1>
      <a:lt1>
        <a:sysClr val="window" lastClr="FFFFFF"/>
      </a:lt1>
      <a:dk2>
        <a:srgbClr val="004691"/>
      </a:dk2>
      <a:lt2>
        <a:srgbClr val="E6E6E6"/>
      </a:lt2>
      <a:accent1>
        <a:srgbClr val="004691"/>
      </a:accent1>
      <a:accent2>
        <a:srgbClr val="EB0028"/>
      </a:accent2>
      <a:accent3>
        <a:srgbClr val="A0A0A0"/>
      </a:accent3>
      <a:accent4>
        <a:srgbClr val="003264"/>
      </a:accent4>
      <a:accent5>
        <a:srgbClr val="960028"/>
      </a:accent5>
      <a:accent6>
        <a:srgbClr val="E6E6E6"/>
      </a:accent6>
      <a:hlink>
        <a:srgbClr val="376EA5"/>
      </a:hlink>
      <a:folHlink>
        <a:srgbClr val="C80028"/>
      </a:folHlink>
    </a:clrScheme>
    <a:fontScheme name="Font TIM">
      <a:majorFont>
        <a:latin typeface="TIM Sans"/>
        <a:ea typeface="ＭＳ Ｐゴシック"/>
        <a:cs typeface="Arial"/>
      </a:majorFont>
      <a:minorFont>
        <a:latin typeface="TIM Sans Light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zione standard1" id="{9F1520E2-F50C-4646-9013-757CBBBF7433}" vid="{EE4AFF28-E56B-40DD-8530-B2D858444004}"/>
    </a:ext>
  </a:extLst>
</a:theme>
</file>

<file path=ppt/theme/theme7.xml><?xml version="1.0" encoding="utf-8"?>
<a:theme xmlns:a="http://schemas.openxmlformats.org/drawingml/2006/main" name="1_Mastro - Grazie Bianca">
  <a:themeElements>
    <a:clrScheme name="Palette TIM">
      <a:dk1>
        <a:srgbClr val="000000"/>
      </a:dk1>
      <a:lt1>
        <a:sysClr val="window" lastClr="FFFFFF"/>
      </a:lt1>
      <a:dk2>
        <a:srgbClr val="004691"/>
      </a:dk2>
      <a:lt2>
        <a:srgbClr val="E6E6E6"/>
      </a:lt2>
      <a:accent1>
        <a:srgbClr val="004691"/>
      </a:accent1>
      <a:accent2>
        <a:srgbClr val="EB0028"/>
      </a:accent2>
      <a:accent3>
        <a:srgbClr val="A0A0A0"/>
      </a:accent3>
      <a:accent4>
        <a:srgbClr val="003264"/>
      </a:accent4>
      <a:accent5>
        <a:srgbClr val="960028"/>
      </a:accent5>
      <a:accent6>
        <a:srgbClr val="E6E6E6"/>
      </a:accent6>
      <a:hlink>
        <a:srgbClr val="376EA5"/>
      </a:hlink>
      <a:folHlink>
        <a:srgbClr val="C80028"/>
      </a:folHlink>
    </a:clrScheme>
    <a:fontScheme name="Font TIM">
      <a:majorFont>
        <a:latin typeface="TIM Sans"/>
        <a:ea typeface="ＭＳ Ｐゴシック"/>
        <a:cs typeface="Arial"/>
      </a:majorFont>
      <a:minorFont>
        <a:latin typeface="TIM Sans Light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esentazione standard1" id="{9F1520E2-F50C-4646-9013-757CBBBF7433}" vid="{111CE521-F0DA-4AEF-B014-BBE16AF9FCD9}"/>
    </a:ext>
  </a:extLst>
</a:theme>
</file>

<file path=ppt/theme/theme8.xml><?xml version="1.0" encoding="utf-8"?>
<a:theme xmlns:a="http://schemas.openxmlformats.org/drawingml/2006/main" name="1_Master - Cover 2">
  <a:themeElements>
    <a:clrScheme name="Palette TIM">
      <a:dk1>
        <a:srgbClr val="000000"/>
      </a:dk1>
      <a:lt1>
        <a:sysClr val="window" lastClr="FFFFFF"/>
      </a:lt1>
      <a:dk2>
        <a:srgbClr val="004691"/>
      </a:dk2>
      <a:lt2>
        <a:srgbClr val="E6E6E6"/>
      </a:lt2>
      <a:accent1>
        <a:srgbClr val="004691"/>
      </a:accent1>
      <a:accent2>
        <a:srgbClr val="EB0028"/>
      </a:accent2>
      <a:accent3>
        <a:srgbClr val="A0A0A0"/>
      </a:accent3>
      <a:accent4>
        <a:srgbClr val="003264"/>
      </a:accent4>
      <a:accent5>
        <a:srgbClr val="960028"/>
      </a:accent5>
      <a:accent6>
        <a:srgbClr val="E6E6E6"/>
      </a:accent6>
      <a:hlink>
        <a:srgbClr val="376EA5"/>
      </a:hlink>
      <a:folHlink>
        <a:srgbClr val="C80028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PT_TIM_meeting.potx" id="{2BEB4389-3D06-4002-BE73-86F74F8F600A}" vid="{FB03251D-26E7-4A08-92E2-6C16570E2015}"/>
    </a:ext>
  </a:extLst>
</a:theme>
</file>

<file path=ppt/theme/theme9.xml><?xml version="1.0" encoding="utf-8"?>
<a:theme xmlns:a="http://schemas.openxmlformats.org/drawingml/2006/main" name="11_Presentazione_PPT_TIM">
  <a:themeElements>
    <a:clrScheme name="Palette TIM">
      <a:dk1>
        <a:srgbClr val="000000"/>
      </a:dk1>
      <a:lt1>
        <a:sysClr val="window" lastClr="FFFFFF"/>
      </a:lt1>
      <a:dk2>
        <a:srgbClr val="82B9E6"/>
      </a:dk2>
      <a:lt2>
        <a:srgbClr val="E6E6E6"/>
      </a:lt2>
      <a:accent1>
        <a:srgbClr val="004691"/>
      </a:accent1>
      <a:accent2>
        <a:srgbClr val="EB0028"/>
      </a:accent2>
      <a:accent3>
        <a:srgbClr val="FBD872"/>
      </a:accent3>
      <a:accent4>
        <a:srgbClr val="AAA5C8"/>
      </a:accent4>
      <a:accent5>
        <a:srgbClr val="003264"/>
      </a:accent5>
      <a:accent6>
        <a:srgbClr val="B4D28C"/>
      </a:accent6>
      <a:hlink>
        <a:srgbClr val="376EA5"/>
      </a:hlink>
      <a:folHlink>
        <a:srgbClr val="C80028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zione standard1" id="{9F1520E2-F50C-4646-9013-757CBBBF7433}" vid="{9E650E27-7E29-4A1B-8DBE-55D323670A3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FEF7F5082C9934DBB1AFEF8800A5610" ma:contentTypeVersion="0" ma:contentTypeDescription="Creare un nuovo documento." ma:contentTypeScope="" ma:versionID="dec952376f860b2ebf54c26e2e5c288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e2c2bff39701977361371fca1d1563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47C4185-4103-4569-9749-06670335E58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1341BD6-3143-4D83-B148-2846C1D337C8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B007878-FCCA-4CCE-A96F-F87716D334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zione_PPT_TIM</Template>
  <TotalTime>10715</TotalTime>
  <Words>134</Words>
  <Application>Microsoft Office PowerPoint</Application>
  <PresentationFormat>Presentazione su schermo (4:3)</PresentationFormat>
  <Paragraphs>23</Paragraphs>
  <Slides>4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9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4</vt:i4>
      </vt:variant>
    </vt:vector>
  </HeadingPairs>
  <TitlesOfParts>
    <vt:vector size="24" baseType="lpstr">
      <vt:lpstr>Arial</vt:lpstr>
      <vt:lpstr>TIM Sans Medium</vt:lpstr>
      <vt:lpstr>MS PGothic</vt:lpstr>
      <vt:lpstr>Calibri</vt:lpstr>
      <vt:lpstr>Franklin Gothic Demi</vt:lpstr>
      <vt:lpstr>TIM Sans</vt:lpstr>
      <vt:lpstr>Segoe UI Semilight</vt:lpstr>
      <vt:lpstr>TIM Sans Light</vt:lpstr>
      <vt:lpstr>Webdings</vt:lpstr>
      <vt:lpstr>Franklin Gothic Medium</vt:lpstr>
      <vt:lpstr>Master - Cover 1</vt:lpstr>
      <vt:lpstr>Master - Cover 2</vt:lpstr>
      <vt:lpstr>Master - Cover 3</vt:lpstr>
      <vt:lpstr>Master - Cover 4</vt:lpstr>
      <vt:lpstr>Master - Cover Bianca</vt:lpstr>
      <vt:lpstr>Mastro - Grazie Blu</vt:lpstr>
      <vt:lpstr>1_Mastro - Grazie Bianca</vt:lpstr>
      <vt:lpstr>1_Master - Cover 2</vt:lpstr>
      <vt:lpstr>11_Presentazione_PPT_TIM</vt:lpstr>
      <vt:lpstr>think-cell Slide</vt:lpstr>
      <vt:lpstr>Presentazione standard di PowerPoint</vt:lpstr>
      <vt:lpstr>Innovazione  digitale: un cambio di stato</vt:lpstr>
      <vt:lpstr>I 4.0: un nuovo sistema tecnologico</vt:lpstr>
      <vt:lpstr>Presentazione standard di PowerPoint</vt:lpstr>
    </vt:vector>
  </TitlesOfParts>
  <Company>Telecom Italia S.p.A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ff Meeting  ICT Solutions &amp; Service Platforms</dc:title>
  <dc:creator>Scotti Fabio</dc:creator>
  <cp:lastModifiedBy>Palumbo Antonio</cp:lastModifiedBy>
  <cp:revision>488</cp:revision>
  <cp:lastPrinted>2017-07-20T14:14:03Z</cp:lastPrinted>
  <dcterms:created xsi:type="dcterms:W3CDTF">2016-06-13T13:42:23Z</dcterms:created>
  <dcterms:modified xsi:type="dcterms:W3CDTF">2017-12-19T08:4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EF7F5082C9934DBB1AFEF8800A5610</vt:lpwstr>
  </property>
</Properties>
</file>